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4" r:id="rId1"/>
  </p:sldMasterIdLst>
  <p:notesMasterIdLst>
    <p:notesMasterId r:id="rId34"/>
  </p:notesMasterIdLst>
  <p:handoutMasterIdLst>
    <p:handoutMasterId r:id="rId35"/>
  </p:handoutMasterIdLst>
  <p:sldIdLst>
    <p:sldId id="928" r:id="rId2"/>
    <p:sldId id="936" r:id="rId3"/>
    <p:sldId id="937" r:id="rId4"/>
    <p:sldId id="938" r:id="rId5"/>
    <p:sldId id="940" r:id="rId6"/>
    <p:sldId id="942" r:id="rId7"/>
    <p:sldId id="943" r:id="rId8"/>
    <p:sldId id="944" r:id="rId9"/>
    <p:sldId id="945" r:id="rId10"/>
    <p:sldId id="946" r:id="rId11"/>
    <p:sldId id="947" r:id="rId12"/>
    <p:sldId id="948" r:id="rId13"/>
    <p:sldId id="949" r:id="rId14"/>
    <p:sldId id="950" r:id="rId15"/>
    <p:sldId id="951" r:id="rId16"/>
    <p:sldId id="952" r:id="rId17"/>
    <p:sldId id="953" r:id="rId18"/>
    <p:sldId id="954" r:id="rId19"/>
    <p:sldId id="955" r:id="rId20"/>
    <p:sldId id="956" r:id="rId21"/>
    <p:sldId id="957" r:id="rId22"/>
    <p:sldId id="958" r:id="rId23"/>
    <p:sldId id="960" r:id="rId24"/>
    <p:sldId id="961" r:id="rId25"/>
    <p:sldId id="962" r:id="rId26"/>
    <p:sldId id="963" r:id="rId27"/>
    <p:sldId id="964" r:id="rId28"/>
    <p:sldId id="965" r:id="rId29"/>
    <p:sldId id="966" r:id="rId30"/>
    <p:sldId id="967" r:id="rId31"/>
    <p:sldId id="968" r:id="rId32"/>
    <p:sldId id="969" r:id="rId33"/>
  </p:sldIdLst>
  <p:sldSz cx="10058400" cy="7772400"/>
  <p:notesSz cx="6797675" cy="9928225"/>
  <p:custDataLst>
    <p:tags r:id="rId36"/>
  </p:custDataLst>
  <p:defaultTextStyle>
    <a:defPPr>
      <a:defRPr lang="en-US"/>
    </a:defPPr>
    <a:lvl1pPr marL="0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98" userDrawn="1">
          <p15:clr>
            <a:srgbClr val="A4A3A4"/>
          </p15:clr>
        </p15:guide>
        <p15:guide id="2" orient="horz" pos="4668">
          <p15:clr>
            <a:srgbClr val="A4A3A4"/>
          </p15:clr>
        </p15:guide>
        <p15:guide id="3" orient="horz" pos="4489" userDrawn="1">
          <p15:clr>
            <a:srgbClr val="A4A3A4"/>
          </p15:clr>
        </p15:guide>
        <p15:guide id="4" orient="horz" pos="4308" userDrawn="1">
          <p15:clr>
            <a:srgbClr val="A4A3A4"/>
          </p15:clr>
        </p15:guide>
        <p15:guide id="5" orient="horz" pos="679" userDrawn="1">
          <p15:clr>
            <a:srgbClr val="A4A3A4"/>
          </p15:clr>
        </p15:guide>
        <p15:guide id="7" orient="horz" pos="1296">
          <p15:clr>
            <a:srgbClr val="A4A3A4"/>
          </p15:clr>
        </p15:guide>
        <p15:guide id="8" orient="horz" pos="1392">
          <p15:clr>
            <a:srgbClr val="A4A3A4"/>
          </p15:clr>
        </p15:guide>
        <p15:guide id="13" orient="horz" pos="2720" userDrawn="1">
          <p15:clr>
            <a:srgbClr val="A4A3A4"/>
          </p15:clr>
        </p15:guide>
        <p15:guide id="14" orient="horz" pos="2832">
          <p15:clr>
            <a:srgbClr val="A4A3A4"/>
          </p15:clr>
        </p15:guide>
        <p15:guide id="19" orient="horz" pos="4176">
          <p15:clr>
            <a:srgbClr val="A4A3A4"/>
          </p15:clr>
        </p15:guide>
        <p15:guide id="20" orient="horz" pos="4386">
          <p15:clr>
            <a:srgbClr val="A4A3A4"/>
          </p15:clr>
        </p15:guide>
        <p15:guide id="21" pos="356" userDrawn="1">
          <p15:clr>
            <a:srgbClr val="A4A3A4"/>
          </p15:clr>
        </p15:guide>
        <p15:guide id="22" pos="5980" userDrawn="1">
          <p15:clr>
            <a:srgbClr val="A4A3A4"/>
          </p15:clr>
        </p15:guide>
        <p15:guide id="27" pos="3120">
          <p15:clr>
            <a:srgbClr val="A4A3A4"/>
          </p15:clr>
        </p15:guide>
        <p15:guide id="28" pos="32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TS Vietnam" initials="GV" lastIdx="33" clrIdx="0"/>
  <p:cmAuthor id="1" name="Windows User" initials="WU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428"/>
    <a:srgbClr val="FFCC00"/>
    <a:srgbClr val="2E2300"/>
    <a:srgbClr val="FFC28B"/>
    <a:srgbClr val="DC6900"/>
    <a:srgbClr val="FFC227"/>
    <a:srgbClr val="FFA451"/>
    <a:srgbClr val="CD2F0E"/>
    <a:srgbClr val="CD2F0F"/>
    <a:srgbClr val="F3BE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7681" autoAdjust="0"/>
  </p:normalViewPr>
  <p:slideViewPr>
    <p:cSldViewPr snapToObjects="1">
      <p:cViewPr>
        <p:scale>
          <a:sx n="100" d="100"/>
          <a:sy n="100" d="100"/>
        </p:scale>
        <p:origin x="282" y="-642"/>
      </p:cViewPr>
      <p:guideLst>
        <p:guide orient="horz" pos="498"/>
        <p:guide orient="horz" pos="4668"/>
        <p:guide orient="horz" pos="4489"/>
        <p:guide orient="horz" pos="4308"/>
        <p:guide orient="horz" pos="679"/>
        <p:guide orient="horz" pos="1296"/>
        <p:guide orient="horz" pos="1392"/>
        <p:guide orient="horz" pos="2720"/>
        <p:guide orient="horz" pos="2832"/>
        <p:guide orient="horz" pos="4176"/>
        <p:guide orient="horz" pos="4386"/>
        <p:guide pos="356"/>
        <p:guide pos="5980"/>
        <p:guide pos="3120"/>
        <p:guide pos="32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45" d="100"/>
          <a:sy n="45" d="100"/>
        </p:scale>
        <p:origin x="2768" y="6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8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New</c:v>
                </c:pt>
                <c:pt idx="1">
                  <c:v>Open</c:v>
                </c:pt>
                <c:pt idx="2">
                  <c:v>Won</c:v>
                </c:pt>
                <c:pt idx="3">
                  <c:v>Los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00</c:v>
                </c:pt>
                <c:pt idx="1">
                  <c:v>1000</c:v>
                </c:pt>
                <c:pt idx="2">
                  <c:v>550</c:v>
                </c:pt>
                <c:pt idx="3">
                  <c:v>8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71220677832774E-2"/>
          <c:y val="0"/>
          <c:w val="0.98232877932216722"/>
          <c:h val="0.808932130774459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New </c:v>
                </c:pt>
                <c:pt idx="1">
                  <c:v>Open</c:v>
                </c:pt>
                <c:pt idx="2">
                  <c:v>Won</c:v>
                </c:pt>
                <c:pt idx="3">
                  <c:v>Los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0</c:v>
                </c:pt>
                <c:pt idx="1">
                  <c:v>87</c:v>
                </c:pt>
                <c:pt idx="2">
                  <c:v>67</c:v>
                </c:pt>
                <c:pt idx="3">
                  <c:v>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6348736"/>
        <c:axId val="1196353088"/>
      </c:barChart>
      <c:catAx>
        <c:axId val="1196348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6353088"/>
        <c:crosses val="autoZero"/>
        <c:auto val="1"/>
        <c:lblAlgn val="ctr"/>
        <c:lblOffset val="100"/>
        <c:noMultiLvlLbl val="0"/>
      </c:catAx>
      <c:valAx>
        <c:axId val="11963530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96348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71220677832774E-2"/>
          <c:y val="0"/>
          <c:w val="0.98232877932216722"/>
          <c:h val="0.808932130774459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New </c:v>
                </c:pt>
                <c:pt idx="1">
                  <c:v>Open</c:v>
                </c:pt>
                <c:pt idx="2">
                  <c:v>Won</c:v>
                </c:pt>
                <c:pt idx="3">
                  <c:v>Los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0</c:v>
                </c:pt>
                <c:pt idx="1">
                  <c:v>87</c:v>
                </c:pt>
                <c:pt idx="2">
                  <c:v>67</c:v>
                </c:pt>
                <c:pt idx="3">
                  <c:v>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6348192"/>
        <c:axId val="1196349280"/>
      </c:barChart>
      <c:catAx>
        <c:axId val="1196348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6349280"/>
        <c:crosses val="autoZero"/>
        <c:auto val="1"/>
        <c:lblAlgn val="ctr"/>
        <c:lblOffset val="100"/>
        <c:noMultiLvlLbl val="0"/>
      </c:catAx>
      <c:valAx>
        <c:axId val="11963492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96348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726858877086494E-2"/>
          <c:y val="2.0642201834862386E-2"/>
          <c:w val="0.96965098634294389"/>
          <c:h val="0.95412844036697253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E9DD01"/>
            </a:solidFill>
            <a:ln w="6980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0.11550621944007253"/>
                  <c:y val="-2.8638727396866764E-3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231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9.6561061058757947E-2"/>
                  <c:y val="-1.4878018432712414E-3"/>
                </c:manualLayout>
              </c:layout>
              <c:spPr>
                <a:noFill/>
                <a:ln w="13959">
                  <a:noFill/>
                </a:ln>
              </c:spPr>
              <c:txPr>
                <a:bodyPr/>
                <a:lstStyle/>
                <a:p>
                  <a:pPr>
                    <a:defRPr sz="495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1395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495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11</c:f>
              <c:numCache>
                <c:formatCode>""#,##0"%";""\-""#,##0"%"</c:formatCode>
                <c:ptCount val="10"/>
                <c:pt idx="0">
                  <c:v>3.0000000000003411</c:v>
                </c:pt>
                <c:pt idx="1">
                  <c:v>6.500000000000739</c:v>
                </c:pt>
                <c:pt idx="2">
                  <c:v>7.0000000000007967</c:v>
                </c:pt>
                <c:pt idx="3">
                  <c:v>4.5000000000005116</c:v>
                </c:pt>
                <c:pt idx="4">
                  <c:v>15.000000000001705</c:v>
                </c:pt>
                <c:pt idx="5">
                  <c:v>17.000000000001933</c:v>
                </c:pt>
                <c:pt idx="6">
                  <c:v>12.000000000001364</c:v>
                </c:pt>
                <c:pt idx="7">
                  <c:v>14.000000000001593</c:v>
                </c:pt>
                <c:pt idx="8">
                  <c:v>4.0000000000004547</c:v>
                </c:pt>
                <c:pt idx="9">
                  <c:v>15.000000000001705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 formatCode="&quot;&quot;#,##0&quot;%&quot;;&quot;&quot;\-&quot;&quot;#,##0&quot;%&quot;">
                  <c:v>1850.0000000002103</c:v>
                </c:pt>
                <c:pt idx="3" formatCode="&quot;&quot;#,##0&quot;%&quot;;&quot;&quot;\-&quot;&quot;#,##0&quot;%&quot;">
                  <c:v>550.00000000006253</c:v>
                </c:pt>
              </c:numCache>
            </c:numRef>
          </c:yVal>
          <c:bubbleSize>
            <c:numRef>
              <c:f>Sheet1!$C$2:$C$11</c:f>
              <c:numCache>
                <c:formatCode>General</c:formatCode>
                <c:ptCount val="10"/>
                <c:pt idx="0" formatCode="&quot;&quot;#,##0&quot;%&quot;;&quot;&quot;\-&quot;&quot;#,##0&quot;%&quot;">
                  <c:v>45.000000000005116</c:v>
                </c:pt>
                <c:pt idx="3" formatCode="&quot;&quot;#,##0&quot;%&quot;;&quot;&quot;\-&quot;&quot;#,##0&quot;%&quot;">
                  <c:v>25.000000000002842</c:v>
                </c:pt>
              </c:numCache>
            </c:numRef>
          </c:bubbleSize>
          <c:bubble3D val="0"/>
        </c:ser>
        <c:ser>
          <c:idx val="1"/>
          <c:order val="1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6DBFCD"/>
            </a:solidFill>
            <a:ln w="6980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6DBFCD"/>
              </a:solidFill>
              <a:ln w="6980">
                <a:solidFill>
                  <a:srgbClr val="000000"/>
                </a:solidFill>
                <a:prstDash val="solid"/>
              </a:ln>
            </c:spPr>
          </c:dPt>
          <c:dPt>
            <c:idx val="6"/>
            <c:invertIfNegative val="0"/>
            <c:bubble3D val="0"/>
            <c:spPr>
              <a:solidFill>
                <a:srgbClr val="6DBFCD"/>
              </a:solidFill>
              <a:ln w="6980">
                <a:solidFill>
                  <a:srgbClr val="000000"/>
                </a:solidFill>
                <a:prstDash val="solid"/>
              </a:ln>
            </c:spPr>
          </c:dPt>
          <c:dPt>
            <c:idx val="7"/>
            <c:invertIfNegative val="0"/>
            <c:bubble3D val="0"/>
            <c:spPr>
              <a:solidFill>
                <a:srgbClr val="6DBFCD"/>
              </a:solidFill>
              <a:ln w="6980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1"/>
              <c:layout>
                <c:manualLayout>
                  <c:x val="-0.2141977715608864"/>
                  <c:y val="1.6860848572341103E-2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214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1097326563850968"/>
                  <c:y val="-1.1156777781873295E-4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211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10406042959394834"/>
                  <c:y val="-1.9465288234877809E-3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342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10892886442050365"/>
                  <c:y val="-1.4879118875055219E-3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345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11785817980841917"/>
                  <c:y val="-1.4878018432712414E-3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435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1347695800168245"/>
                  <c:y val="-1.1170438445451403E-4"/>
                </c:manualLayout>
              </c:layout>
              <c:tx>
                <c:rich>
                  <a:bodyPr/>
                  <a:lstStyle/>
                  <a:p>
                    <a:pPr>
                      <a:defRPr sz="495" b="1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234</a:t>
                    </a:r>
                    <a:endParaRPr lang="en-US" dirty="0"/>
                  </a:p>
                </c:rich>
              </c:tx>
              <c:spPr>
                <a:noFill/>
                <a:ln w="13959">
                  <a:noFill/>
                </a:ln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1395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495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11</c:f>
              <c:numCache>
                <c:formatCode>""#,##0"%";""\-""#,##0"%"</c:formatCode>
                <c:ptCount val="10"/>
                <c:pt idx="0">
                  <c:v>3.0000000000003411</c:v>
                </c:pt>
                <c:pt idx="1">
                  <c:v>6.500000000000739</c:v>
                </c:pt>
                <c:pt idx="2">
                  <c:v>7.0000000000007967</c:v>
                </c:pt>
                <c:pt idx="3">
                  <c:v>4.5000000000005116</c:v>
                </c:pt>
                <c:pt idx="4">
                  <c:v>15.000000000001705</c:v>
                </c:pt>
                <c:pt idx="5">
                  <c:v>17.000000000001933</c:v>
                </c:pt>
                <c:pt idx="6">
                  <c:v>12.000000000001364</c:v>
                </c:pt>
                <c:pt idx="7">
                  <c:v>14.000000000001593</c:v>
                </c:pt>
                <c:pt idx="8">
                  <c:v>4.0000000000004547</c:v>
                </c:pt>
                <c:pt idx="9">
                  <c:v>15.000000000001705</c:v>
                </c:pt>
              </c:numCache>
            </c:numRef>
          </c:xVal>
          <c:yVal>
            <c:numRef>
              <c:f>Sheet1!$D$2:$D$11</c:f>
              <c:numCache>
                <c:formatCode>""#,##0"%";""\-""#,##0"%"</c:formatCode>
                <c:ptCount val="10"/>
                <c:pt idx="1">
                  <c:v>1550.0000000001762</c:v>
                </c:pt>
                <c:pt idx="2">
                  <c:v>1500.0000000001705</c:v>
                </c:pt>
                <c:pt idx="4">
                  <c:v>900.00000000010232</c:v>
                </c:pt>
                <c:pt idx="5">
                  <c:v>300.00000000003411</c:v>
                </c:pt>
                <c:pt idx="6">
                  <c:v>550.00000000006253</c:v>
                </c:pt>
                <c:pt idx="7">
                  <c:v>250.00000000002842</c:v>
                </c:pt>
              </c:numCache>
            </c:numRef>
          </c:yVal>
          <c:bubbleSize>
            <c:numRef>
              <c:f>Sheet1!$E$2:$E$11</c:f>
              <c:numCache>
                <c:formatCode>""#,##0"%";""\-""#,##0"%"</c:formatCode>
                <c:ptCount val="10"/>
                <c:pt idx="1">
                  <c:v>40.000000000004547</c:v>
                </c:pt>
                <c:pt idx="2">
                  <c:v>40.000000000004547</c:v>
                </c:pt>
                <c:pt idx="4">
                  <c:v>30.000000000003411</c:v>
                </c:pt>
                <c:pt idx="5">
                  <c:v>35.196043097206463</c:v>
                </c:pt>
                <c:pt idx="6">
                  <c:v>45.000000000005116</c:v>
                </c:pt>
                <c:pt idx="7">
                  <c:v>40.000000000004547</c:v>
                </c:pt>
              </c:numCache>
            </c:numRef>
          </c:bubbleSize>
          <c:bubble3D val="0"/>
        </c:ser>
        <c:ser>
          <c:idx val="2"/>
          <c:order val="2"/>
          <c:tx>
            <c:strRef>
              <c:f>Sheet1!$F$1</c:f>
              <c:strCache>
                <c:ptCount val="1"/>
              </c:strCache>
            </c:strRef>
          </c:tx>
          <c:spPr>
            <a:solidFill>
              <a:srgbClr val="808080"/>
            </a:solidFill>
            <a:ln w="6980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2:$A$11</c:f>
              <c:numCache>
                <c:formatCode>""#,##0"%";""\-""#,##0"%"</c:formatCode>
                <c:ptCount val="10"/>
                <c:pt idx="0">
                  <c:v>3.0000000000003411</c:v>
                </c:pt>
                <c:pt idx="1">
                  <c:v>6.500000000000739</c:v>
                </c:pt>
                <c:pt idx="2">
                  <c:v>7.0000000000007967</c:v>
                </c:pt>
                <c:pt idx="3">
                  <c:v>4.5000000000005116</c:v>
                </c:pt>
                <c:pt idx="4">
                  <c:v>15.000000000001705</c:v>
                </c:pt>
                <c:pt idx="5">
                  <c:v>17.000000000001933</c:v>
                </c:pt>
                <c:pt idx="6">
                  <c:v>12.000000000001364</c:v>
                </c:pt>
                <c:pt idx="7">
                  <c:v>14.000000000001593</c:v>
                </c:pt>
                <c:pt idx="8">
                  <c:v>4.0000000000004547</c:v>
                </c:pt>
                <c:pt idx="9">
                  <c:v>15.000000000001705</c:v>
                </c:pt>
              </c:numCache>
            </c:numRef>
          </c:xVal>
          <c:yVal>
            <c:numRef>
              <c:f>Sheet1!$F$2:$F$11</c:f>
              <c:numCache>
                <c:formatCode>General</c:formatCode>
                <c:ptCount val="10"/>
                <c:pt idx="8" formatCode="&quot;&quot;#,##0&quot;%&quot;;&quot;&quot;\-&quot;&quot;#,##0&quot;%&quot;">
                  <c:v>80.000000000009095</c:v>
                </c:pt>
                <c:pt idx="9" formatCode="&quot;&quot;#,##0&quot;%&quot;;&quot;&quot;\-&quot;&quot;#,##0&quot;%&quot;">
                  <c:v>30.000000000003411</c:v>
                </c:pt>
              </c:numCache>
            </c:numRef>
          </c:yVal>
          <c:bubbleSize>
            <c:numRef>
              <c:f>Sheet1!$G$2:$G$11</c:f>
              <c:numCache>
                <c:formatCode>General</c:formatCode>
                <c:ptCount val="10"/>
                <c:pt idx="8" formatCode="&quot;&quot;#,##0&quot;%&quot;;&quot;&quot;\-&quot;&quot;#,##0&quot;%&quot;">
                  <c:v>49.702977220062074</c:v>
                </c:pt>
                <c:pt idx="9" formatCode="&quot;&quot;#,##0&quot;%&quot;;&quot;&quot;\-&quot;&quot;#,##0&quot;%&quot;">
                  <c:v>35.000000000003979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1196350368"/>
        <c:axId val="1196354176"/>
      </c:bubbleChart>
      <c:valAx>
        <c:axId val="1196350368"/>
        <c:scaling>
          <c:orientation val="minMax"/>
          <c:max val="20"/>
          <c:min val="0"/>
        </c:scaling>
        <c:delete val="0"/>
        <c:axPos val="b"/>
        <c:numFmt formatCode="&quot;&quot;#,##0&quot;%&quot;;&quot;&quot;\-&quot;&quot;#,##0&quot;%&quot;" sourceLinked="1"/>
        <c:majorTickMark val="out"/>
        <c:minorTickMark val="none"/>
        <c:tickLblPos val="none"/>
        <c:spPr>
          <a:ln w="6980">
            <a:solidFill>
              <a:schemeClr val="tx1"/>
            </a:solidFill>
            <a:prstDash val="solid"/>
          </a:ln>
        </c:spPr>
        <c:crossAx val="1196354176"/>
        <c:crossesAt val="0"/>
        <c:crossBetween val="midCat"/>
        <c:majorUnit val="5"/>
      </c:valAx>
      <c:valAx>
        <c:axId val="1196354176"/>
        <c:scaling>
          <c:orientation val="minMax"/>
          <c:max val="2000"/>
          <c:min val="0"/>
        </c:scaling>
        <c:delete val="0"/>
        <c:axPos val="l"/>
        <c:numFmt formatCode="&quot;&quot;#,##0&quot;%&quot;;&quot;&quot;\-&quot;&quot;#,##0&quot;%&quot;" sourceLinked="1"/>
        <c:majorTickMark val="out"/>
        <c:minorTickMark val="none"/>
        <c:tickLblPos val="none"/>
        <c:spPr>
          <a:ln w="6980">
            <a:solidFill>
              <a:schemeClr val="tx1"/>
            </a:solidFill>
            <a:prstDash val="solid"/>
          </a:ln>
        </c:spPr>
        <c:crossAx val="1196350368"/>
        <c:crossesAt val="0"/>
        <c:crossBetween val="midCat"/>
        <c:majorUnit val="500"/>
      </c:valAx>
      <c:spPr>
        <a:noFill/>
        <a:ln w="6980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59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71220677832774E-2"/>
          <c:y val="0"/>
          <c:w val="0.98232877932216722"/>
          <c:h val="0.808932130774459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New </c:v>
                </c:pt>
                <c:pt idx="1">
                  <c:v>Open</c:v>
                </c:pt>
                <c:pt idx="2">
                  <c:v>Won</c:v>
                </c:pt>
                <c:pt idx="3">
                  <c:v>Los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0</c:v>
                </c:pt>
                <c:pt idx="1">
                  <c:v>87</c:v>
                </c:pt>
                <c:pt idx="2">
                  <c:v>67</c:v>
                </c:pt>
                <c:pt idx="3">
                  <c:v>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2668784"/>
        <c:axId val="1002658992"/>
      </c:barChart>
      <c:catAx>
        <c:axId val="1002668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2658992"/>
        <c:crosses val="autoZero"/>
        <c:auto val="1"/>
        <c:lblAlgn val="ctr"/>
        <c:lblOffset val="100"/>
        <c:noMultiLvlLbl val="0"/>
      </c:catAx>
      <c:valAx>
        <c:axId val="10026589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0266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71220677832774E-2"/>
          <c:y val="0"/>
          <c:w val="0.98232877932216722"/>
          <c:h val="0.808932130774459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New </c:v>
                </c:pt>
                <c:pt idx="1">
                  <c:v>Open</c:v>
                </c:pt>
                <c:pt idx="2">
                  <c:v>Won</c:v>
                </c:pt>
                <c:pt idx="3">
                  <c:v>Los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0</c:v>
                </c:pt>
                <c:pt idx="1">
                  <c:v>87</c:v>
                </c:pt>
                <c:pt idx="2">
                  <c:v>67</c:v>
                </c:pt>
                <c:pt idx="3">
                  <c:v>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2663344"/>
        <c:axId val="1002666608"/>
      </c:barChart>
      <c:catAx>
        <c:axId val="1002663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2666608"/>
        <c:crosses val="autoZero"/>
        <c:auto val="1"/>
        <c:lblAlgn val="ctr"/>
        <c:lblOffset val="100"/>
        <c:noMultiLvlLbl val="0"/>
      </c:catAx>
      <c:valAx>
        <c:axId val="1002666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02663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D35B1-60AB-43F7-96E0-8278C11AA7BA}" type="datetimeFigureOut">
              <a:rPr lang="en-GB" smtClean="0"/>
              <a:pPr/>
              <a:t>18/09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CB74D-572E-4F08-9394-3ECB1E1638A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24176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B935B-3E5D-4FF0-8ED3-E5C882647223}" type="datetimeFigureOut">
              <a:rPr lang="en-US" smtClean="0"/>
              <a:pPr/>
              <a:t>9/18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44538"/>
            <a:ext cx="48164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706B8-EBCC-470A-8AE8-B49CE76EE6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146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ver image"/>
          <p:cNvSpPr txBox="1"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2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3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000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30352" y="3730752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100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="" xmlns:a16="http://schemas.microsoft.com/office/drawing/2014/main" id="{E4DD6F5B-1B2F-446C-A366-70395776527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3" name="Report Date">
            <a:extLst>
              <a:ext uri="{FF2B5EF4-FFF2-40B4-BE49-F238E27FC236}">
                <a16:creationId xmlns="" xmlns:a16="http://schemas.microsoft.com/office/drawing/2014/main" id="{83EE0291-D49B-49C8-BE33-B42C87CED96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4" name="Page Number">
            <a:extLst>
              <a:ext uri="{FF2B5EF4-FFF2-40B4-BE49-F238E27FC236}">
                <a16:creationId xmlns="" xmlns:a16="http://schemas.microsoft.com/office/drawing/2014/main" id="{51251477-60C0-4D47-9080-6E63CEA7174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6" name="PwC Text">
            <a:extLst>
              <a:ext uri="{FF2B5EF4-FFF2-40B4-BE49-F238E27FC236}">
                <a16:creationId xmlns="" xmlns:a16="http://schemas.microsoft.com/office/drawing/2014/main" id="{C697AC74-0898-470D-BFF1-7148CA0C2B8C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8774"/>
            <a:ext cx="10058400" cy="5836616"/>
          </a:xfrm>
          <a:prstGeom prst="rect">
            <a:avLst/>
          </a:prstGeom>
        </p:spPr>
      </p:pic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 userDrawn="1"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9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 userDrawn="1"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 userDrawn="1"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1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15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2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4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5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6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7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28" name="Group 27"/>
          <p:cNvGrpSpPr/>
          <p:nvPr userDrawn="1"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2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31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8" name="Group 37"/>
          <p:cNvGrpSpPr/>
          <p:nvPr userDrawn="1"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3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40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41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2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3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4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5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6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7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8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9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0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1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2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3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4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5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6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7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8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9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0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1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2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4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5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6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7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8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9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0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1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2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3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7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8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9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0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1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2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3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4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5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6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7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8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9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0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1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2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3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4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5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6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7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8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9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0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1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2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3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4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5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6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7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8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9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0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1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2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3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4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5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6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7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8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9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0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1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2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3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4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5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7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8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9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0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1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2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3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4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5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6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7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8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9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0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1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2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3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4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5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6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7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8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9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0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1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2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3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4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5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6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7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8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99" name="Group 198"/>
          <p:cNvGrpSpPr/>
          <p:nvPr userDrawn="1"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200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1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2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3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4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5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6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7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8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9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0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1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2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3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4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5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6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7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8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9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0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1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2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3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4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5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6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7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8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9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0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1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2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3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4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5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6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7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8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9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0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1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2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3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4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5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6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7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8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9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0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1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>
            <a:extLst>
              <a:ext uri="{FF2B5EF4-FFF2-40B4-BE49-F238E27FC236}">
                <a16:creationId xmlns="" xmlns:a16="http://schemas.microsoft.com/office/drawing/2014/main" id="{E4DD6F5B-1B2F-446C-A366-70395776527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3" name="Report Date">
            <a:extLst>
              <a:ext uri="{FF2B5EF4-FFF2-40B4-BE49-F238E27FC236}">
                <a16:creationId xmlns="" xmlns:a16="http://schemas.microsoft.com/office/drawing/2014/main" id="{83EE0291-D49B-49C8-BE33-B42C87CED96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4" name="Page Number">
            <a:extLst>
              <a:ext uri="{FF2B5EF4-FFF2-40B4-BE49-F238E27FC236}">
                <a16:creationId xmlns="" xmlns:a16="http://schemas.microsoft.com/office/drawing/2014/main" id="{51251477-60C0-4D47-9080-6E63CEA7174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6" name="PwC Text">
            <a:extLst>
              <a:ext uri="{FF2B5EF4-FFF2-40B4-BE49-F238E27FC236}">
                <a16:creationId xmlns="" xmlns:a16="http://schemas.microsoft.com/office/drawing/2014/main" id="{C697AC74-0898-470D-BFF1-7148CA0C2B8C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8774"/>
            <a:ext cx="10058400" cy="5836616"/>
          </a:xfrm>
          <a:prstGeom prst="rect">
            <a:avLst/>
          </a:prstGeom>
        </p:spPr>
      </p:pic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 userDrawn="1"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9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 userDrawn="1"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199" name="Group 198"/>
          <p:cNvGrpSpPr/>
          <p:nvPr userDrawn="1"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200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1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2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3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4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5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6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7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8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9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0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1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2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3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4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5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6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7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8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9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0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1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2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3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4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5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6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7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8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9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0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1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2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3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4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5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6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7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8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9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0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1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2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3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4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5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6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7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8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9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0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1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22154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9525">
            <a:solidFill>
              <a:srgbClr val="FDE4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Insert banner statement here</a:t>
            </a:r>
          </a:p>
        </p:txBody>
      </p:sp>
      <p:sp>
        <p:nvSpPr>
          <p:cNvPr id="6" name="Page Number">
            <a:extLst>
              <a:ext uri="{FF2B5EF4-FFF2-40B4-BE49-F238E27FC236}">
                <a16:creationId xmlns="" xmlns:a16="http://schemas.microsoft.com/office/drawing/2014/main" id="{2114A40E-177E-47EB-BFB2-FB4A6C35248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7" name="Report Date">
            <a:extLst>
              <a:ext uri="{FF2B5EF4-FFF2-40B4-BE49-F238E27FC236}">
                <a16:creationId xmlns="" xmlns:a16="http://schemas.microsoft.com/office/drawing/2014/main" id="{E68CD431-F83C-4850-BA65-DCDB6D36DF85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8" name="Page Number">
            <a:extLst>
              <a:ext uri="{FF2B5EF4-FFF2-40B4-BE49-F238E27FC236}">
                <a16:creationId xmlns="" xmlns:a16="http://schemas.microsoft.com/office/drawing/2014/main" id="{A4217BE9-9BFF-4908-9CE4-A3803499293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D26D9899-95B3-4725-ADA6-DC5C818D9F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45552" y="7280352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wC Text">
            <a:extLst>
              <a:ext uri="{FF2B5EF4-FFF2-40B4-BE49-F238E27FC236}">
                <a16:creationId xmlns="" xmlns:a16="http://schemas.microsoft.com/office/drawing/2014/main" id="{D9622981-1C37-4F1A-8159-B100D181D2C0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2584F01-0294-4423-A888-A0E53F48B0E8}"/>
              </a:ext>
            </a:extLst>
          </p:cNvPr>
          <p:cNvSpPr/>
          <p:nvPr userDrawn="1"/>
        </p:nvSpPr>
        <p:spPr>
          <a:xfrm>
            <a:off x="-6107" y="2734072"/>
            <a:ext cx="8839031" cy="2439631"/>
          </a:xfrm>
          <a:prstGeom prst="rect">
            <a:avLst/>
          </a:prstGeom>
          <a:solidFill>
            <a:srgbClr val="FDE428">
              <a:alpha val="87000"/>
            </a:srgb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73224" y="3094112"/>
            <a:ext cx="7452320" cy="457200"/>
          </a:xfrm>
          <a:noFill/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rgbClr val="002060"/>
                </a:solidFill>
                <a:latin typeface="+mj-lt"/>
              </a:defRPr>
            </a:lvl1pPr>
            <a:lvl2pPr marL="5094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88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82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6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70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64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5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73224" y="3551312"/>
            <a:ext cx="7452320" cy="1214408"/>
          </a:xfrm>
          <a:noFill/>
        </p:spPr>
        <p:txBody>
          <a:bodyPr wrap="square" tIns="0" bIns="0" anchor="ctr">
            <a:noAutofit/>
          </a:bodyPr>
          <a:lstStyle>
            <a:lvl1pPr algn="l">
              <a:defRPr sz="3200" b="1" i="1" cap="none">
                <a:solidFill>
                  <a:srgbClr val="002060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0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7495" y="7136702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7495" y="7003924"/>
            <a:ext cx="8074152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/>
              <a:t>Slide Tags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="" xmlns:a16="http://schemas.microsoft.com/office/drawing/2014/main" id="{13E94B0E-0D39-4336-BE58-6D1A51EE6F3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18" name="Report Date">
            <a:extLst>
              <a:ext uri="{FF2B5EF4-FFF2-40B4-BE49-F238E27FC236}">
                <a16:creationId xmlns="" xmlns:a16="http://schemas.microsoft.com/office/drawing/2014/main" id="{3E842BD3-D46C-47B7-A1A3-EAD18248899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19" name="Page Number">
            <a:extLst>
              <a:ext uri="{FF2B5EF4-FFF2-40B4-BE49-F238E27FC236}">
                <a16:creationId xmlns="" xmlns:a16="http://schemas.microsoft.com/office/drawing/2014/main" id="{EDEC653D-BE8C-4CB7-815B-75C85302739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5542A747-A77D-4C25-ACB7-829D5EF649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45552" y="7280352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PwC Text">
            <a:extLst>
              <a:ext uri="{FF2B5EF4-FFF2-40B4-BE49-F238E27FC236}">
                <a16:creationId xmlns="" xmlns:a16="http://schemas.microsoft.com/office/drawing/2014/main" id="{1B03A61A-90B5-492E-8622-59A099D6739D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_Section Divider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2584F01-0294-4423-A888-A0E53F48B0E8}"/>
              </a:ext>
            </a:extLst>
          </p:cNvPr>
          <p:cNvSpPr/>
          <p:nvPr userDrawn="1"/>
        </p:nvSpPr>
        <p:spPr>
          <a:xfrm>
            <a:off x="-6107" y="2734072"/>
            <a:ext cx="8839031" cy="2439631"/>
          </a:xfrm>
          <a:prstGeom prst="rect">
            <a:avLst/>
          </a:prstGeom>
          <a:solidFill>
            <a:srgbClr val="FDE428">
              <a:alpha val="31000"/>
            </a:srgb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73224" y="3094112"/>
            <a:ext cx="7452320" cy="457200"/>
          </a:xfrm>
          <a:noFill/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rgbClr val="002060"/>
                </a:solidFill>
                <a:latin typeface="+mj-lt"/>
              </a:defRPr>
            </a:lvl1pPr>
            <a:lvl2pPr marL="5094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88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82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6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70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64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5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73224" y="3551312"/>
            <a:ext cx="7452320" cy="1214408"/>
          </a:xfrm>
          <a:noFill/>
        </p:spPr>
        <p:txBody>
          <a:bodyPr wrap="square" tIns="0" bIns="0" anchor="ctr">
            <a:noAutofit/>
          </a:bodyPr>
          <a:lstStyle>
            <a:lvl1pPr algn="l">
              <a:defRPr sz="3200" b="1" i="1" cap="none">
                <a:solidFill>
                  <a:srgbClr val="002060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0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7495" y="7136702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7495" y="7003924"/>
            <a:ext cx="8074152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/>
              <a:t>Slide Tags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="" xmlns:a16="http://schemas.microsoft.com/office/drawing/2014/main" id="{13E94B0E-0D39-4336-BE58-6D1A51EE6F3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18" name="Report Date">
            <a:extLst>
              <a:ext uri="{FF2B5EF4-FFF2-40B4-BE49-F238E27FC236}">
                <a16:creationId xmlns="" xmlns:a16="http://schemas.microsoft.com/office/drawing/2014/main" id="{3E842BD3-D46C-47B7-A1A3-EAD18248899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19" name="Page Number">
            <a:extLst>
              <a:ext uri="{FF2B5EF4-FFF2-40B4-BE49-F238E27FC236}">
                <a16:creationId xmlns="" xmlns:a16="http://schemas.microsoft.com/office/drawing/2014/main" id="{EDEC653D-BE8C-4CB7-815B-75C85302739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5542A747-A77D-4C25-ACB7-829D5EF649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45552" y="7280352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PwC Text">
            <a:extLst>
              <a:ext uri="{FF2B5EF4-FFF2-40B4-BE49-F238E27FC236}">
                <a16:creationId xmlns="" xmlns:a16="http://schemas.microsoft.com/office/drawing/2014/main" id="{1B03A61A-90B5-492E-8622-59A099D6739D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</p:spTree>
    <p:extLst>
      <p:ext uri="{BB962C8B-B14F-4D97-AF65-F5344CB8AC3E}">
        <p14:creationId xmlns:p14="http://schemas.microsoft.com/office/powerpoint/2010/main" val="1312532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2584F01-0294-4423-A888-A0E53F48B0E8}"/>
              </a:ext>
            </a:extLst>
          </p:cNvPr>
          <p:cNvSpPr/>
          <p:nvPr userDrawn="1"/>
        </p:nvSpPr>
        <p:spPr>
          <a:xfrm>
            <a:off x="-6107" y="2734072"/>
            <a:ext cx="8839031" cy="2439631"/>
          </a:xfrm>
          <a:prstGeom prst="rect">
            <a:avLst/>
          </a:prstGeom>
          <a:solidFill>
            <a:srgbClr val="002060">
              <a:alpha val="87000"/>
            </a:srgb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73224" y="3094112"/>
            <a:ext cx="7452320" cy="457200"/>
          </a:xfrm>
          <a:noFill/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  <a:lvl2pPr marL="5094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88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82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6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70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64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5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73224" y="3551312"/>
            <a:ext cx="7452320" cy="1214408"/>
          </a:xfrm>
          <a:noFill/>
        </p:spPr>
        <p:txBody>
          <a:bodyPr wrap="square" tIns="0" bIns="0" anchor="ctr">
            <a:noAutofit/>
          </a:bodyPr>
          <a:lstStyle>
            <a:lvl1pPr algn="l">
              <a:defRPr sz="3200" b="1" i="1" cap="none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0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7495" y="7136702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7495" y="7003924"/>
            <a:ext cx="8074152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/>
              <a:t>Slide Tags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="" xmlns:a16="http://schemas.microsoft.com/office/drawing/2014/main" id="{6E730A5C-A969-4CA3-B59C-F500BD67F7B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15" name="Report Date">
            <a:extLst>
              <a:ext uri="{FF2B5EF4-FFF2-40B4-BE49-F238E27FC236}">
                <a16:creationId xmlns="" xmlns:a16="http://schemas.microsoft.com/office/drawing/2014/main" id="{D24E581F-CB49-41BE-8FAD-E2D99627137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18" name="Page Number">
            <a:extLst>
              <a:ext uri="{FF2B5EF4-FFF2-40B4-BE49-F238E27FC236}">
                <a16:creationId xmlns="" xmlns:a16="http://schemas.microsoft.com/office/drawing/2014/main" id="{1551AE18-FA43-4B4B-BC19-3D4EADD628B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="" xmlns:a16="http://schemas.microsoft.com/office/drawing/2014/main" id="{8D623778-B774-41C9-804A-3B7F02BB7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45552" y="7280352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PwC Text">
            <a:extLst>
              <a:ext uri="{FF2B5EF4-FFF2-40B4-BE49-F238E27FC236}">
                <a16:creationId xmlns="" xmlns:a16="http://schemas.microsoft.com/office/drawing/2014/main" id="{2B1BE4DA-54EE-4ECA-93FD-FEF66FF0A584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</p:spTree>
    <p:extLst>
      <p:ext uri="{BB962C8B-B14F-4D97-AF65-F5344CB8AC3E}">
        <p14:creationId xmlns:p14="http://schemas.microsoft.com/office/powerpoint/2010/main" val="3256238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_Section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2584F01-0294-4423-A888-A0E53F48B0E8}"/>
              </a:ext>
            </a:extLst>
          </p:cNvPr>
          <p:cNvSpPr/>
          <p:nvPr userDrawn="1"/>
        </p:nvSpPr>
        <p:spPr>
          <a:xfrm>
            <a:off x="-6107" y="2734072"/>
            <a:ext cx="8839031" cy="2439631"/>
          </a:xfrm>
          <a:prstGeom prst="rect">
            <a:avLst/>
          </a:prstGeom>
          <a:solidFill>
            <a:schemeClr val="accent6">
              <a:alpha val="72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alpha val="58000"/>
                </a:schemeClr>
              </a:solidFill>
            </a:endParaRPr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73224" y="3094112"/>
            <a:ext cx="7452320" cy="457200"/>
          </a:xfrm>
          <a:noFill/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  <a:lvl2pPr marL="5094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88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82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6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70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64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5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73224" y="3551312"/>
            <a:ext cx="7452320" cy="1214408"/>
          </a:xfrm>
          <a:noFill/>
        </p:spPr>
        <p:txBody>
          <a:bodyPr wrap="square" tIns="0" bIns="0" anchor="ctr">
            <a:noAutofit/>
          </a:bodyPr>
          <a:lstStyle>
            <a:lvl1pPr algn="l">
              <a:defRPr sz="3200" b="1" i="1" cap="none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0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7495" y="7136702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7495" y="7003924"/>
            <a:ext cx="8074152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/>
              <a:t>Slide Tags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="" xmlns:a16="http://schemas.microsoft.com/office/drawing/2014/main" id="{6E730A5C-A969-4CA3-B59C-F500BD67F7B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15" name="Report Date">
            <a:extLst>
              <a:ext uri="{FF2B5EF4-FFF2-40B4-BE49-F238E27FC236}">
                <a16:creationId xmlns="" xmlns:a16="http://schemas.microsoft.com/office/drawing/2014/main" id="{D24E581F-CB49-41BE-8FAD-E2D99627137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18" name="Page Number">
            <a:extLst>
              <a:ext uri="{FF2B5EF4-FFF2-40B4-BE49-F238E27FC236}">
                <a16:creationId xmlns="" xmlns:a16="http://schemas.microsoft.com/office/drawing/2014/main" id="{1551AE18-FA43-4B4B-BC19-3D4EADD628B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="" xmlns:a16="http://schemas.microsoft.com/office/drawing/2014/main" id="{8D623778-B774-41C9-804A-3B7F02BB7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45552" y="7280352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PwC Text">
            <a:extLst>
              <a:ext uri="{FF2B5EF4-FFF2-40B4-BE49-F238E27FC236}">
                <a16:creationId xmlns="" xmlns:a16="http://schemas.microsoft.com/office/drawing/2014/main" id="{2B1BE4DA-54EE-4ECA-93FD-FEF66FF0A584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</p:spTree>
    <p:extLst>
      <p:ext uri="{BB962C8B-B14F-4D97-AF65-F5344CB8AC3E}">
        <p14:creationId xmlns:p14="http://schemas.microsoft.com/office/powerpoint/2010/main" val="82255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530352" y="1143000"/>
            <a:ext cx="8997696" cy="457200"/>
          </a:xfrm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4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88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82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6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70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64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5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Appendix Divider style</a:t>
            </a:r>
          </a:p>
        </p:txBody>
      </p:sp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0352" y="1609344"/>
            <a:ext cx="8997696" cy="492443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2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7495" y="7136702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7495" y="7003924"/>
            <a:ext cx="8074152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900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/>
              <a:t>Slide Tags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="" xmlns:a16="http://schemas.microsoft.com/office/drawing/2014/main" id="{3A357148-5ECA-46C2-AEBD-3638B179EB7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/>
          </a:p>
        </p:txBody>
      </p:sp>
      <p:sp>
        <p:nvSpPr>
          <p:cNvPr id="19" name="Report Date">
            <a:extLst>
              <a:ext uri="{FF2B5EF4-FFF2-40B4-BE49-F238E27FC236}">
                <a16:creationId xmlns="" xmlns:a16="http://schemas.microsoft.com/office/drawing/2014/main" id="{B135A9B1-0920-4289-9992-2D08DE13388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864660" y="7141464"/>
            <a:ext cx="65402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fld id="{43056386-5145-49C5-9E66-ABECA95AA606}" type="datetime4">
              <a:rPr lang="en-GB" sz="900" noProof="1" smtClean="0">
                <a:latin typeface="+mn-lt"/>
              </a:rPr>
              <a:t>18 September 2017</a:t>
            </a:fld>
            <a:endParaRPr lang="en-GB" sz="900" noProof="1">
              <a:latin typeface="+mn-lt"/>
            </a:endParaRPr>
          </a:p>
        </p:txBody>
      </p:sp>
      <p:sp>
        <p:nvSpPr>
          <p:cNvPr id="20" name="Page Number">
            <a:extLst>
              <a:ext uri="{FF2B5EF4-FFF2-40B4-BE49-F238E27FC236}">
                <a16:creationId xmlns="" xmlns:a16="http://schemas.microsoft.com/office/drawing/2014/main" id="{1FE9248D-9F92-431C-8AA5-79251D5ACD5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21" name="Slide Number Placeholder 5">
            <a:extLst>
              <a:ext uri="{FF2B5EF4-FFF2-40B4-BE49-F238E27FC236}">
                <a16:creationId xmlns="" xmlns:a16="http://schemas.microsoft.com/office/drawing/2014/main" id="{10EABB2C-7666-4308-8DDB-B3808638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45552" y="7280352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PwC Text">
            <a:extLst>
              <a:ext uri="{FF2B5EF4-FFF2-40B4-BE49-F238E27FC236}">
                <a16:creationId xmlns="" xmlns:a16="http://schemas.microsoft.com/office/drawing/2014/main" id="{37F6F68E-43CD-49F8-B489-EB75A2E5C104}"/>
              </a:ext>
            </a:extLst>
          </p:cNvPr>
          <p:cNvSpPr txBox="1"/>
          <p:nvPr userDrawn="1"/>
        </p:nvSpPr>
        <p:spPr>
          <a:xfrm>
            <a:off x="537875" y="7287768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>
                <a:latin typeface="+mn-lt"/>
                <a:cs typeface="Arial" pitchFamily="34" charset="0"/>
              </a:rPr>
              <a:t>VINTELLO 2017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11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5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6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7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8" name="Group 600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5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6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7" name="Content block 603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8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9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59" name="Group 500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9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0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1" name="Content block 503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2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3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0" name="Group 400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3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4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5" name="Content block 403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6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7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1" name="Group 300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7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8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9" name="Content block 303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0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1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2" name="Group 200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1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2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3" name="Content block 203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4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5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3" name="Group 100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5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6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7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8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9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212848"/>
            <a:ext cx="8997696" cy="44165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45552" y="7086600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232CF9-A459-4E64-9081-36A997996C81}" type="datetime1">
              <a:rPr lang="en-GB" noProof="0" smtClean="0"/>
              <a:t>18/09/2017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7086600"/>
            <a:ext cx="5779008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45552" y="7242048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5" r:id="rId2"/>
    <p:sldLayoutId id="2147483720" r:id="rId3"/>
    <p:sldLayoutId id="2147483688" r:id="rId4"/>
    <p:sldLayoutId id="2147483711" r:id="rId5"/>
    <p:sldLayoutId id="2147483718" r:id="rId6"/>
    <p:sldLayoutId id="2147483717" r:id="rId7"/>
    <p:sldLayoutId id="2147483719" r:id="rId8"/>
    <p:sldLayoutId id="2147483708" r:id="rId9"/>
  </p:sldLayoutIdLst>
  <p:hf hdr="0" ftr="0" dt="0"/>
  <p:txStyles>
    <p:titleStyle>
      <a:lvl1pPr algn="l" defTabSz="1018824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3495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75488" marR="0" indent="-227013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85800" marR="0" indent="-237744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40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37744" indent="-237744" algn="l" defTabSz="101882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75488" indent="-228600" algn="l" defTabSz="101882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lpha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82625" indent="-228600" algn="l" defTabSz="101882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roman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101882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lang="en-GB" sz="11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m.vn/url?sa=t&amp;rct=j&amp;q=&amp;esrc=s&amp;source=web&amp;cd=5&amp;ved=0ahUKEwjQ37mEx6PVAhVEOrwKHT1sDtQQFgg-MAQ&amp;url=http://news.zing.vn/nhung-dieu-chua-biet-ve-cong-ty-cua-thieu-gia-minh-nhua-post675810.html&amp;usg=AFQjCNHv91rHO1-I7QtbO5MjaODYdzdqZA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nld.com.vn/cong-doan/de-cong-nhan-yen-tam-20141201215629372.htm" TargetMode="External"/><Relationship Id="rId4" Type="http://schemas.openxmlformats.org/officeDocument/2006/relationships/hyperlink" Target="http://baotintuc.vn/kinh-te/ho-tro-doanh-nghiep-hoi-nhap-20160620223918664.htm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16.pn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chart" Target="../charts/chart4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2.png"/><Relationship Id="rId5" Type="http://schemas.openxmlformats.org/officeDocument/2006/relationships/tags" Target="../tags/tag6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0.png"/><Relationship Id="rId7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baotintuc.vn/kinh-te/ho-tro-doanh-nghiep-hoi-nhap-20160620223918664.htm" TargetMode="External"/><Relationship Id="rId2" Type="http://schemas.openxmlformats.org/officeDocument/2006/relationships/hyperlink" Target="https://www.google.com.vn/url?sa=t&amp;rct=j&amp;q=&amp;esrc=s&amp;source=web&amp;cd=5&amp;ved=0ahUKEwjQ37mEx6PVAhVEOrwKHT1sDtQQFgg-MAQ&amp;url=http://news.zing.vn/nhung-dieu-chua-biet-ve-cong-ty-cua-thieu-gia-minh-nhua-post675810.html&amp;usg=AFQjCNHv91rHO1-I7QtbO5MjaODYdzdqZA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nld.com.vn/cong-doan/de-cong-nhan-yen-tam-20141201215629372.htm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dirty="0" smtClean="0"/>
              <a:t>Web based</a:t>
            </a:r>
            <a:endParaRPr lang="en-GB" dirty="0"/>
          </a:p>
        </p:txBody>
      </p:sp>
      <p:sp>
        <p:nvSpPr>
          <p:cNvPr id="56" name="Slide Number Placeholder 55">
            <a:extLst>
              <a:ext uri="{FF2B5EF4-FFF2-40B4-BE49-F238E27FC236}">
                <a16:creationId xmlns="" xmlns:a16="http://schemas.microsoft.com/office/drawing/2014/main" id="{C735F98E-EBD8-4BB8-BE37-18C5687752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D5A39AF-FEF5-47AB-AA80-4C0BD4A8B092}" type="slidenum">
              <a:rPr lang="en-GB" smtClean="0"/>
              <a:pPr/>
              <a:t>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73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0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2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10980" y="5859680"/>
            <a:ext cx="1405859" cy="287643"/>
          </a:xfrm>
          <a:prstGeom prst="roundRect">
            <a:avLst/>
          </a:prstGeom>
          <a:solidFill>
            <a:schemeClr val="accent2">
              <a:lumMod val="9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VIEW RESUL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21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2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2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-1882559" y="1785533"/>
            <a:ext cx="1871199" cy="2313653"/>
            <a:chOff x="-1882559" y="1785533"/>
            <a:chExt cx="1871199" cy="2313653"/>
          </a:xfrm>
        </p:grpSpPr>
        <p:sp>
          <p:nvSpPr>
            <p:cNvPr id="22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1785533"/>
              <a:ext cx="1871199" cy="287643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INPUT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22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2056636"/>
              <a:ext cx="1871199" cy="2042550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t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List of company attribu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Details break-down of each attributes</a:t>
              </a:r>
              <a:endParaRPr kumimoji="1" lang="en-US" altLang="ja-JP" sz="105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23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23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423" name="Group 422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424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5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6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7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8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9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0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1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2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3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4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5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6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7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8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9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0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1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2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3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4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5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6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7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8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9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0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1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2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3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4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5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6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7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8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9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0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1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2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476" name="Group 475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47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478" name="Group 477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479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0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1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2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3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4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5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6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7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8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9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0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1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492" name="Group 491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49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494" name="Group 493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495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6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7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8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9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0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1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02" name="Group 501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50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04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505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6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7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8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9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0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1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2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3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4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5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6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7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8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9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0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1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2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3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4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5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6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7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8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9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0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1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2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3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4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5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6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7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8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9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0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1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2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3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4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5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6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7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8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9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0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1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2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3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4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5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6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7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8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9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0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1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2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3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4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5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6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7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8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9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0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1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2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3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4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5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6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7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8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9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0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1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2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3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4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5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6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7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8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9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0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1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2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3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4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5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6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7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8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9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0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1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2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3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4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3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4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5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695" name="Rectangle 694"/>
          <p:cNvSpPr/>
          <p:nvPr/>
        </p:nvSpPr>
        <p:spPr>
          <a:xfrm>
            <a:off x="1265892" y="2338696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696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344033" y="2362225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Revenue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731" name="Straight Connector 730"/>
          <p:cNvCxnSpPr/>
          <p:nvPr/>
        </p:nvCxnSpPr>
        <p:spPr>
          <a:xfrm>
            <a:off x="1383468" y="276269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2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258844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733" name="Rounded Rectangle 732"/>
          <p:cNvSpPr/>
          <p:nvPr/>
        </p:nvSpPr>
        <p:spPr>
          <a:xfrm rot="10800000">
            <a:off x="1396655" y="258847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734" name="Straight Connector 733"/>
          <p:cNvCxnSpPr/>
          <p:nvPr/>
        </p:nvCxnSpPr>
        <p:spPr>
          <a:xfrm>
            <a:off x="1383468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5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279220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0-5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736" name="Rounded Rectangle 735"/>
          <p:cNvSpPr/>
          <p:nvPr/>
        </p:nvSpPr>
        <p:spPr>
          <a:xfrm rot="10800000">
            <a:off x="1396655" y="279223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737" name="Straight Connector 736"/>
          <p:cNvCxnSpPr/>
          <p:nvPr/>
        </p:nvCxnSpPr>
        <p:spPr>
          <a:xfrm>
            <a:off x="1383468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" name="Straight Connector 737"/>
          <p:cNvCxnSpPr/>
          <p:nvPr/>
        </p:nvCxnSpPr>
        <p:spPr>
          <a:xfrm>
            <a:off x="1383468" y="3170227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2995974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5-1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740" name="Rounded Rectangle 739"/>
          <p:cNvSpPr/>
          <p:nvPr/>
        </p:nvSpPr>
        <p:spPr>
          <a:xfrm rot="10800000">
            <a:off x="1396655" y="2996005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721" name="Straight Connector 720"/>
          <p:cNvCxnSpPr/>
          <p:nvPr/>
        </p:nvCxnSpPr>
        <p:spPr>
          <a:xfrm>
            <a:off x="3266565" y="276269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2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258844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10-2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723" name="Rounded Rectangle 722"/>
          <p:cNvSpPr/>
          <p:nvPr/>
        </p:nvSpPr>
        <p:spPr>
          <a:xfrm rot="10800000">
            <a:off x="3279752" y="258847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724" name="Straight Connector 723"/>
          <p:cNvCxnSpPr/>
          <p:nvPr/>
        </p:nvCxnSpPr>
        <p:spPr>
          <a:xfrm>
            <a:off x="3266565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5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279220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20-5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726" name="Rounded Rectangle 725"/>
          <p:cNvSpPr/>
          <p:nvPr/>
        </p:nvSpPr>
        <p:spPr>
          <a:xfrm rot="10800000">
            <a:off x="3279752" y="279223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727" name="Straight Connector 726"/>
          <p:cNvCxnSpPr/>
          <p:nvPr/>
        </p:nvCxnSpPr>
        <p:spPr>
          <a:xfrm>
            <a:off x="3266565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/>
          <p:cNvCxnSpPr/>
          <p:nvPr/>
        </p:nvCxnSpPr>
        <p:spPr>
          <a:xfrm>
            <a:off x="3266565" y="3170227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2995974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&gt;$5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730" name="Rounded Rectangle 729"/>
          <p:cNvSpPr/>
          <p:nvPr/>
        </p:nvSpPr>
        <p:spPr>
          <a:xfrm rot="10800000">
            <a:off x="3279752" y="2996005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742" name="Rectangle 741"/>
          <p:cNvSpPr/>
          <p:nvPr/>
        </p:nvSpPr>
        <p:spPr>
          <a:xfrm>
            <a:off x="1265892" y="3441877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743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344033" y="3465406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Profi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789" name="Rectangle 788"/>
          <p:cNvSpPr/>
          <p:nvPr/>
        </p:nvSpPr>
        <p:spPr>
          <a:xfrm>
            <a:off x="1265892" y="4545059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790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344033" y="4568588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Years in Busines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825" name="Straight Connector 824"/>
          <p:cNvCxnSpPr/>
          <p:nvPr/>
        </p:nvCxnSpPr>
        <p:spPr>
          <a:xfrm>
            <a:off x="1383468" y="496905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6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4794803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27" name="Rounded Rectangle 826"/>
          <p:cNvSpPr/>
          <p:nvPr/>
        </p:nvSpPr>
        <p:spPr>
          <a:xfrm rot="10800000">
            <a:off x="1396655" y="479483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28" name="Straight Connector 827"/>
          <p:cNvCxnSpPr/>
          <p:nvPr/>
        </p:nvCxnSpPr>
        <p:spPr>
          <a:xfrm>
            <a:off x="1383468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499857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0-5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30" name="Rounded Rectangle 829"/>
          <p:cNvSpPr/>
          <p:nvPr/>
        </p:nvSpPr>
        <p:spPr>
          <a:xfrm rot="10800000">
            <a:off x="1396655" y="499860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31" name="Straight Connector 830"/>
          <p:cNvCxnSpPr/>
          <p:nvPr/>
        </p:nvCxnSpPr>
        <p:spPr>
          <a:xfrm>
            <a:off x="1383468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/>
          <p:cNvCxnSpPr/>
          <p:nvPr/>
        </p:nvCxnSpPr>
        <p:spPr>
          <a:xfrm>
            <a:off x="1383468" y="537659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3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520233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5-10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34" name="Rounded Rectangle 833"/>
          <p:cNvSpPr/>
          <p:nvPr/>
        </p:nvSpPr>
        <p:spPr>
          <a:xfrm rot="10800000">
            <a:off x="1396655" y="520236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15" name="Straight Connector 814"/>
          <p:cNvCxnSpPr/>
          <p:nvPr/>
        </p:nvCxnSpPr>
        <p:spPr>
          <a:xfrm>
            <a:off x="3266565" y="496905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6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4794803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0-15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17" name="Rounded Rectangle 816"/>
          <p:cNvSpPr/>
          <p:nvPr/>
        </p:nvSpPr>
        <p:spPr>
          <a:xfrm rot="10800000">
            <a:off x="3279752" y="479483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18" name="Straight Connector 817"/>
          <p:cNvCxnSpPr/>
          <p:nvPr/>
        </p:nvCxnSpPr>
        <p:spPr>
          <a:xfrm>
            <a:off x="3266565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499857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5-20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20" name="Rounded Rectangle 819"/>
          <p:cNvSpPr/>
          <p:nvPr/>
        </p:nvSpPr>
        <p:spPr>
          <a:xfrm rot="10800000">
            <a:off x="3279752" y="499860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21" name="Straight Connector 820"/>
          <p:cNvCxnSpPr/>
          <p:nvPr/>
        </p:nvCxnSpPr>
        <p:spPr>
          <a:xfrm>
            <a:off x="3266565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/>
          <p:cNvCxnSpPr/>
          <p:nvPr/>
        </p:nvCxnSpPr>
        <p:spPr>
          <a:xfrm>
            <a:off x="3266565" y="537659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3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520233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&gt; 20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24" name="Rounded Rectangle 823"/>
          <p:cNvSpPr/>
          <p:nvPr/>
        </p:nvSpPr>
        <p:spPr>
          <a:xfrm rot="10800000">
            <a:off x="3279752" y="520236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13" name="Rectangle 412"/>
          <p:cNvSpPr/>
          <p:nvPr/>
        </p:nvSpPr>
        <p:spPr>
          <a:xfrm>
            <a:off x="5110283" y="2338696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14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188424" y="2362225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Location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676" name="Rectangle 675"/>
          <p:cNvSpPr/>
          <p:nvPr/>
        </p:nvSpPr>
        <p:spPr>
          <a:xfrm>
            <a:off x="5110283" y="3441877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677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188424" y="3465406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Employee count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678" name="Straight Connector 677"/>
          <p:cNvCxnSpPr/>
          <p:nvPr/>
        </p:nvCxnSpPr>
        <p:spPr>
          <a:xfrm>
            <a:off x="5227859" y="3865874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516319" y="3691621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680" name="Rounded Rectangle 679"/>
          <p:cNvSpPr/>
          <p:nvPr/>
        </p:nvSpPr>
        <p:spPr>
          <a:xfrm rot="10800000">
            <a:off x="5241046" y="36916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681" name="Straight Connector 680"/>
          <p:cNvCxnSpPr/>
          <p:nvPr/>
        </p:nvCxnSpPr>
        <p:spPr>
          <a:xfrm>
            <a:off x="5227859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2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516319" y="3895388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-10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683" name="Rounded Rectangle 682"/>
          <p:cNvSpPr/>
          <p:nvPr/>
        </p:nvSpPr>
        <p:spPr>
          <a:xfrm rot="10800000">
            <a:off x="5241046" y="3895419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684" name="Straight Connector 683"/>
          <p:cNvCxnSpPr/>
          <p:nvPr/>
        </p:nvCxnSpPr>
        <p:spPr>
          <a:xfrm>
            <a:off x="5227859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5" name="Straight Connector 684"/>
          <p:cNvCxnSpPr/>
          <p:nvPr/>
        </p:nvCxnSpPr>
        <p:spPr>
          <a:xfrm>
            <a:off x="5227859" y="4273408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6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516319" y="4099155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00-50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687" name="Rounded Rectangle 686"/>
          <p:cNvSpPr/>
          <p:nvPr/>
        </p:nvSpPr>
        <p:spPr>
          <a:xfrm rot="10800000">
            <a:off x="5241046" y="4099186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688" name="Straight Connector 687"/>
          <p:cNvCxnSpPr/>
          <p:nvPr/>
        </p:nvCxnSpPr>
        <p:spPr>
          <a:xfrm>
            <a:off x="7110956" y="3865874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7399416" y="3691621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500-100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690" name="Rounded Rectangle 689"/>
          <p:cNvSpPr/>
          <p:nvPr/>
        </p:nvSpPr>
        <p:spPr>
          <a:xfrm rot="10800000">
            <a:off x="7124143" y="36916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691" name="Straight Connector 690"/>
          <p:cNvCxnSpPr/>
          <p:nvPr/>
        </p:nvCxnSpPr>
        <p:spPr>
          <a:xfrm>
            <a:off x="7110956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2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7399416" y="3895388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000-500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693" name="Rounded Rectangle 692"/>
          <p:cNvSpPr/>
          <p:nvPr/>
        </p:nvSpPr>
        <p:spPr>
          <a:xfrm rot="10800000">
            <a:off x="7124143" y="3895419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694" name="Straight Connector 693"/>
          <p:cNvCxnSpPr/>
          <p:nvPr/>
        </p:nvCxnSpPr>
        <p:spPr>
          <a:xfrm>
            <a:off x="7110956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5" name="Straight Connector 834"/>
          <p:cNvCxnSpPr/>
          <p:nvPr/>
        </p:nvCxnSpPr>
        <p:spPr>
          <a:xfrm>
            <a:off x="7110956" y="4273408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6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7399416" y="4099155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&gt; 500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37" name="Rounded Rectangle 836"/>
          <p:cNvSpPr/>
          <p:nvPr/>
        </p:nvSpPr>
        <p:spPr>
          <a:xfrm rot="10800000">
            <a:off x="7124143" y="4099186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838" name="Rectangle 837"/>
          <p:cNvSpPr/>
          <p:nvPr/>
        </p:nvSpPr>
        <p:spPr>
          <a:xfrm>
            <a:off x="5110283" y="4545059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839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188424" y="4568588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Key word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860" name="Straight Connector 859"/>
          <p:cNvCxnSpPr/>
          <p:nvPr/>
        </p:nvCxnSpPr>
        <p:spPr>
          <a:xfrm>
            <a:off x="1383468" y="3898295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1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3724042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62" name="Rounded Rectangle 861"/>
          <p:cNvSpPr/>
          <p:nvPr/>
        </p:nvSpPr>
        <p:spPr>
          <a:xfrm rot="10800000">
            <a:off x="1396655" y="3724073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63" name="Straight Connector 862"/>
          <p:cNvCxnSpPr/>
          <p:nvPr/>
        </p:nvCxnSpPr>
        <p:spPr>
          <a:xfrm>
            <a:off x="1383468" y="4102062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4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3927809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0-5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65" name="Rounded Rectangle 864"/>
          <p:cNvSpPr/>
          <p:nvPr/>
        </p:nvSpPr>
        <p:spPr>
          <a:xfrm rot="10800000">
            <a:off x="1396655" y="3927840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66" name="Straight Connector 865"/>
          <p:cNvCxnSpPr/>
          <p:nvPr/>
        </p:nvCxnSpPr>
        <p:spPr>
          <a:xfrm>
            <a:off x="1383468" y="4102062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/>
          <p:cNvCxnSpPr/>
          <p:nvPr/>
        </p:nvCxnSpPr>
        <p:spPr>
          <a:xfrm>
            <a:off x="1383468" y="4305829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8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671928" y="4131576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5-1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69" name="Rounded Rectangle 868"/>
          <p:cNvSpPr/>
          <p:nvPr/>
        </p:nvSpPr>
        <p:spPr>
          <a:xfrm rot="10800000">
            <a:off x="1396655" y="413160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70" name="Straight Connector 869"/>
          <p:cNvCxnSpPr/>
          <p:nvPr/>
        </p:nvCxnSpPr>
        <p:spPr>
          <a:xfrm>
            <a:off x="3266565" y="3898295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1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3724042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10-2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72" name="Rounded Rectangle 871"/>
          <p:cNvSpPr/>
          <p:nvPr/>
        </p:nvSpPr>
        <p:spPr>
          <a:xfrm rot="10800000">
            <a:off x="3279752" y="3724073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73" name="Straight Connector 872"/>
          <p:cNvCxnSpPr/>
          <p:nvPr/>
        </p:nvCxnSpPr>
        <p:spPr>
          <a:xfrm>
            <a:off x="3266565" y="4102062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4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3927809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$20-5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75" name="Rounded Rectangle 874"/>
          <p:cNvSpPr/>
          <p:nvPr/>
        </p:nvSpPr>
        <p:spPr>
          <a:xfrm rot="10800000">
            <a:off x="3279752" y="3927840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76" name="Straight Connector 875"/>
          <p:cNvCxnSpPr/>
          <p:nvPr/>
        </p:nvCxnSpPr>
        <p:spPr>
          <a:xfrm>
            <a:off x="3266565" y="4102062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7" name="Straight Connector 876"/>
          <p:cNvCxnSpPr/>
          <p:nvPr/>
        </p:nvCxnSpPr>
        <p:spPr>
          <a:xfrm>
            <a:off x="3266565" y="4305829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8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3555025" y="4131576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&gt;$50mill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79" name="Rounded Rectangle 878"/>
          <p:cNvSpPr/>
          <p:nvPr/>
        </p:nvSpPr>
        <p:spPr>
          <a:xfrm rot="10800000">
            <a:off x="3279752" y="413160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88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2610349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HO CHI MINH CITY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2832074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HANOI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3042190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DANAN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2610349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CAN THO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2832074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BINH DUON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3042190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HU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4815281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ERP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5037006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MANUFACTURIN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5247122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FMC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4815281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CRM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9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5037006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DISTRIBUT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9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5247122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SOFT DRINK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49080" y="1149896"/>
            <a:ext cx="1800200" cy="36540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26480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1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6901408" y="2262510"/>
            <a:ext cx="1873380" cy="340155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114" name="Rectangle 113"/>
          <p:cNvSpPr/>
          <p:nvPr/>
        </p:nvSpPr>
        <p:spPr>
          <a:xfrm>
            <a:off x="1325956" y="2262510"/>
            <a:ext cx="5575452" cy="3595344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1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2290980"/>
            <a:ext cx="1701089" cy="2215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Company Preview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7018983" y="2901049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2690203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Overview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8" name="Isosceles Triangle 17"/>
          <p:cNvSpPr/>
          <p:nvPr/>
        </p:nvSpPr>
        <p:spPr>
          <a:xfrm rot="10800000">
            <a:off x="8410678" y="2734792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7018983" y="36407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3429877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Performanc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1" name="Isosceles Triangle 30"/>
          <p:cNvSpPr/>
          <p:nvPr/>
        </p:nvSpPr>
        <p:spPr>
          <a:xfrm rot="10800000">
            <a:off x="8410678" y="3474466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1" name="Straight Connector 40"/>
          <p:cNvCxnSpPr/>
          <p:nvPr/>
        </p:nvCxnSpPr>
        <p:spPr>
          <a:xfrm>
            <a:off x="7018983" y="438039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4169550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Structur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3" name="Isosceles Triangle 42"/>
          <p:cNvSpPr/>
          <p:nvPr/>
        </p:nvSpPr>
        <p:spPr>
          <a:xfrm rot="10800000">
            <a:off x="8410678" y="4214139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53" name="Straight Connector 52"/>
          <p:cNvCxnSpPr/>
          <p:nvPr/>
        </p:nvCxnSpPr>
        <p:spPr>
          <a:xfrm>
            <a:off x="7018983" y="5120069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4909223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Executive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55" name="Isosceles Triangle 54"/>
          <p:cNvSpPr/>
          <p:nvPr/>
        </p:nvSpPr>
        <p:spPr>
          <a:xfrm rot="10800000">
            <a:off x="8410678" y="4953812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1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2290980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cxnSp>
        <p:nvCxnSpPr>
          <p:cNvPr id="119" name="Straight Connector 118"/>
          <p:cNvCxnSpPr/>
          <p:nvPr/>
        </p:nvCxnSpPr>
        <p:spPr>
          <a:xfrm>
            <a:off x="1421000" y="2901050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1421000" y="3147608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1421000" y="3394165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>
            <a:off x="1421000" y="3640723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>
            <a:off x="1421000" y="3887281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1421000" y="4133839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1421000" y="4380397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1421000" y="4626954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>
            <a:off x="1421000" y="4873512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1421000" y="5120069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>
            <a:off x="1421000" y="5366628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1421000" y="5613183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/>
        </p:nvCxnSpPr>
        <p:spPr>
          <a:xfrm>
            <a:off x="1421000" y="2686783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2290980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Sector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2290980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Location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2290980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enu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2290980"/>
            <a:ext cx="872928" cy="2215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Propensity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2290980"/>
            <a:ext cx="872928" cy="2215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Est. dea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270779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270779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270779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270779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270779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95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270779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295090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295090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295090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295090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295090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93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9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295090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2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1776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1776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1776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1776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31776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91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1776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42071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42071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42071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42071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342071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7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42071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66567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66567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66567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66567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366567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5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66567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90877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90877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90877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90877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390877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6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90877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14293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14293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14293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14293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414293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5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14293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38603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38603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38603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38603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438603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3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38603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9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63611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63611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63611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63611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463611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1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63611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87921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87921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87921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87921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487921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0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87921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5140362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5140362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>
                <a:solidFill>
                  <a:schemeClr val="accent5"/>
                </a:solidFill>
              </a:rPr>
              <a:t>Automotive</a:t>
            </a:r>
          </a:p>
        </p:txBody>
      </p:sp>
      <p:sp>
        <p:nvSpPr>
          <p:cNvPr id="31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5140362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5140362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5140362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79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5140362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538346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538346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1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538346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2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538346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2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538346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75%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538346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44" name="Group 543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45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6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7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8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9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0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1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2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3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597" name="Group 596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59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99" name="Group 598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600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1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2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3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4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13" name="Group 612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61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15" name="Group 614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616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23" name="Group 622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62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25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626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5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6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7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8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9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0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1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2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3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4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5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6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7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8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9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0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1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2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3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4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5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6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7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8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9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0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1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2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3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4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5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6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7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8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9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0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1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2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3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37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321898" y="2333774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7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67218" y="2333774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45701" y="2333774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5375" y="2333774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066314" y="2333774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cxnSp>
        <p:nvCxnSpPr>
          <p:cNvPr id="379" name="Straight Connector 378"/>
          <p:cNvCxnSpPr/>
          <p:nvPr/>
        </p:nvCxnSpPr>
        <p:spPr>
          <a:xfrm>
            <a:off x="1421000" y="4870008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3517515" y="1221904"/>
            <a:ext cx="1527750" cy="29340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2124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70576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2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114" name="Rectangle 113"/>
          <p:cNvSpPr/>
          <p:nvPr/>
        </p:nvSpPr>
        <p:spPr>
          <a:xfrm>
            <a:off x="3217414" y="2262510"/>
            <a:ext cx="5575452" cy="3595344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44" name="Group 543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45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6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7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8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9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0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1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2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3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22163" y="1751360"/>
            <a:ext cx="6843736" cy="24306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270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29458" y="2686210"/>
            <a:ext cx="7404386" cy="3447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endParaRPr kumimoji="1" lang="en-US" altLang="ja-JP" sz="700" b="1" dirty="0">
              <a:solidFill>
                <a:schemeClr val="tx2"/>
              </a:solidFill>
            </a:endParaRPr>
          </a:p>
        </p:txBody>
      </p:sp>
      <p:cxnSp>
        <p:nvCxnSpPr>
          <p:cNvPr id="271" name="Straight Connector 270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34294" y="3476906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05923" y="3134972"/>
            <a:ext cx="770112" cy="32487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accent6"/>
                </a:solidFill>
              </a:rPr>
              <a:t>DASHBOARD</a:t>
            </a:r>
          </a:p>
        </p:txBody>
      </p:sp>
      <p:sp>
        <p:nvSpPr>
          <p:cNvPr id="27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092968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OVERVIEW</a:t>
            </a:r>
          </a:p>
        </p:txBody>
      </p:sp>
      <p:sp>
        <p:nvSpPr>
          <p:cNvPr id="27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0012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KEY PEOPLE</a:t>
            </a:r>
          </a:p>
        </p:txBody>
      </p:sp>
      <p:sp>
        <p:nvSpPr>
          <p:cNvPr id="275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67059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COMPANIES</a:t>
            </a:r>
          </a:p>
        </p:txBody>
      </p:sp>
      <p:sp>
        <p:nvSpPr>
          <p:cNvPr id="27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54103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FINANCIAL PERFORMANCE</a:t>
            </a:r>
          </a:p>
        </p:txBody>
      </p:sp>
      <p:sp>
        <p:nvSpPr>
          <p:cNvPr id="27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41148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27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28193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279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1309963" y="3527487"/>
            <a:ext cx="3652560" cy="1243718"/>
          </a:xfrm>
          <a:prstGeom prst="rect">
            <a:avLst/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>
                <a:solidFill>
                  <a:schemeClr val="tx2"/>
                </a:solidFill>
              </a:rPr>
              <a:t>MÔ TẢ C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800" dirty="0">
                <a:solidFill>
                  <a:schemeClr val="tx2"/>
                </a:solidFill>
              </a:rPr>
              <a:t>Manufacturing and supplying all kinds of plastic products used for family activ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800" dirty="0">
                <a:solidFill>
                  <a:schemeClr val="tx2"/>
                </a:solidFill>
              </a:rPr>
              <a:t>Manufacturing high grade plastic products for food packaging market, chemicals, and other products used for the beverage industr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800" dirty="0">
                <a:solidFill>
                  <a:schemeClr val="tx2"/>
                </a:solidFill>
              </a:rPr>
              <a:t>The main products of the subject: Household and industrial plastic products, high grade plastic Melamine products, PP resin, PP ropes.</a:t>
            </a:r>
          </a:p>
          <a:p>
            <a:endParaRPr kumimoji="1" lang="en-US" altLang="ja-JP" sz="1000" b="1" dirty="0">
              <a:solidFill>
                <a:schemeClr val="tx2"/>
              </a:solidFill>
            </a:endParaRPr>
          </a:p>
        </p:txBody>
      </p:sp>
      <p:sp>
        <p:nvSpPr>
          <p:cNvPr id="280" name="正方形/長方形 4">
            <a:extLst>
              <a:ext uri="{FF2B5EF4-FFF2-40B4-BE49-F238E27FC236}">
                <a16:creationId xmlns="" xmlns:a16="http://schemas.microsoft.com/office/drawing/2014/main" id="{171F40D1-BFB1-4D25-94C8-740ABE226C61}"/>
              </a:ext>
            </a:extLst>
          </p:cNvPr>
          <p:cNvSpPr/>
          <p:nvPr/>
        </p:nvSpPr>
        <p:spPr>
          <a:xfrm>
            <a:off x="1309963" y="4821786"/>
            <a:ext cx="3652560" cy="1426684"/>
          </a:xfrm>
          <a:prstGeom prst="rect">
            <a:avLst/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>
                <a:solidFill>
                  <a:schemeClr val="tx2"/>
                </a:solidFill>
              </a:rPr>
              <a:t>PERFORMANCE</a:t>
            </a:r>
          </a:p>
        </p:txBody>
      </p:sp>
      <p:sp>
        <p:nvSpPr>
          <p:cNvPr id="281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5105305" y="3527487"/>
            <a:ext cx="1850013" cy="1243718"/>
          </a:xfrm>
          <a:prstGeom prst="rect">
            <a:avLst/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>
                <a:solidFill>
                  <a:schemeClr val="tx2"/>
                </a:solidFill>
              </a:rPr>
              <a:t>SHAREHOLDERS</a:t>
            </a:r>
          </a:p>
        </p:txBody>
      </p:sp>
      <p:sp>
        <p:nvSpPr>
          <p:cNvPr id="282" name="正方形/長方形 4">
            <a:extLst>
              <a:ext uri="{FF2B5EF4-FFF2-40B4-BE49-F238E27FC236}">
                <a16:creationId xmlns="" xmlns:a16="http://schemas.microsoft.com/office/drawing/2014/main" id="{53606740-295E-4608-AC87-1FD3B7A2EF93}"/>
              </a:ext>
            </a:extLst>
          </p:cNvPr>
          <p:cNvSpPr/>
          <p:nvPr/>
        </p:nvSpPr>
        <p:spPr>
          <a:xfrm>
            <a:off x="7026285" y="3527487"/>
            <a:ext cx="1739300" cy="1243718"/>
          </a:xfrm>
          <a:prstGeom prst="rect">
            <a:avLst/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>
                <a:solidFill>
                  <a:schemeClr val="tx2"/>
                </a:solidFill>
              </a:rPr>
              <a:t>ADDRESS (HQ)</a:t>
            </a:r>
          </a:p>
        </p:txBody>
      </p:sp>
      <p:sp>
        <p:nvSpPr>
          <p:cNvPr id="283" name="正方形/長方形 4">
            <a:extLst>
              <a:ext uri="{FF2B5EF4-FFF2-40B4-BE49-F238E27FC236}">
                <a16:creationId xmlns="" xmlns:a16="http://schemas.microsoft.com/office/drawing/2014/main" id="{31A29C88-7A61-4C69-93B3-7E46890DD751}"/>
              </a:ext>
            </a:extLst>
          </p:cNvPr>
          <p:cNvSpPr/>
          <p:nvPr/>
        </p:nvSpPr>
        <p:spPr>
          <a:xfrm>
            <a:off x="5105305" y="4821786"/>
            <a:ext cx="3660279" cy="1426684"/>
          </a:xfrm>
          <a:prstGeom prst="rect">
            <a:avLst/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>
                <a:solidFill>
                  <a:schemeClr val="tx2"/>
                </a:solidFill>
              </a:rPr>
              <a:t>RECENT ACTIVITIES TIME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900" u="sng" dirty="0" err="1">
                <a:hlinkClick r:id="rId3"/>
              </a:rPr>
              <a:t>Những</a:t>
            </a:r>
            <a:r>
              <a:rPr lang="vi-VN" sz="900" u="sng" dirty="0">
                <a:hlinkClick r:id="rId3"/>
              </a:rPr>
              <a:t> </a:t>
            </a:r>
            <a:r>
              <a:rPr lang="vi-VN" sz="900" u="sng" dirty="0" err="1">
                <a:hlinkClick r:id="rId3"/>
              </a:rPr>
              <a:t>điều</a:t>
            </a:r>
            <a:r>
              <a:rPr lang="vi-VN" sz="900" u="sng" dirty="0">
                <a:hlinkClick r:id="rId3"/>
              </a:rPr>
              <a:t> chưa </a:t>
            </a:r>
            <a:r>
              <a:rPr lang="vi-VN" sz="900" u="sng" dirty="0" err="1">
                <a:hlinkClick r:id="rId3"/>
              </a:rPr>
              <a:t>biết</a:t>
            </a:r>
            <a:r>
              <a:rPr lang="vi-VN" sz="900" u="sng" dirty="0">
                <a:hlinkClick r:id="rId3"/>
              </a:rPr>
              <a:t> </a:t>
            </a:r>
            <a:r>
              <a:rPr lang="vi-VN" sz="900" u="sng" dirty="0" err="1">
                <a:hlinkClick r:id="rId3"/>
              </a:rPr>
              <a:t>về</a:t>
            </a:r>
            <a:r>
              <a:rPr lang="vi-VN" sz="900" u="sng" dirty="0">
                <a:hlinkClick r:id="rId3"/>
              </a:rPr>
              <a:t> công ty </a:t>
            </a:r>
            <a:r>
              <a:rPr lang="vi-VN" sz="900" u="sng" dirty="0" err="1">
                <a:hlinkClick r:id="rId3"/>
              </a:rPr>
              <a:t>của</a:t>
            </a:r>
            <a:r>
              <a:rPr lang="vi-VN" sz="900" u="sng" dirty="0">
                <a:hlinkClick r:id="rId3"/>
              </a:rPr>
              <a:t> </a:t>
            </a:r>
            <a:r>
              <a:rPr lang="vi-VN" sz="900" u="sng" dirty="0" err="1">
                <a:hlinkClick r:id="rId3"/>
              </a:rPr>
              <a:t>thiếu</a:t>
            </a:r>
            <a:r>
              <a:rPr lang="vi-VN" sz="900" u="sng" dirty="0">
                <a:hlinkClick r:id="rId3"/>
              </a:rPr>
              <a:t> gia Minh </a:t>
            </a:r>
            <a:r>
              <a:rPr lang="vi-VN" sz="900" u="sng" dirty="0" err="1">
                <a:hlinkClick r:id="rId3"/>
              </a:rPr>
              <a:t>Nhựa</a:t>
            </a:r>
            <a:r>
              <a:rPr lang="vi-VN" sz="900" u="sng" dirty="0">
                <a:hlinkClick r:id="rId3"/>
              </a:rPr>
              <a:t> </a:t>
            </a:r>
            <a:endParaRPr lang="vi-VN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err="1">
                <a:hlinkClick r:id="rId4"/>
              </a:rPr>
              <a:t>Hỗ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trợ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doanh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nghiệp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hội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nhập</a:t>
            </a:r>
            <a:endParaRPr 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err="1">
                <a:hlinkClick r:id="rId5"/>
              </a:rPr>
              <a:t>Để</a:t>
            </a:r>
            <a:r>
              <a:rPr lang="en-US" sz="900" dirty="0">
                <a:hlinkClick r:id="rId5"/>
              </a:rPr>
              <a:t> </a:t>
            </a:r>
            <a:r>
              <a:rPr lang="en-US" sz="900" dirty="0" err="1">
                <a:hlinkClick r:id="rId5"/>
              </a:rPr>
              <a:t>công</a:t>
            </a:r>
            <a:r>
              <a:rPr lang="en-US" sz="900" dirty="0">
                <a:hlinkClick r:id="rId5"/>
              </a:rPr>
              <a:t> </a:t>
            </a:r>
            <a:r>
              <a:rPr lang="en-US" sz="900" dirty="0" err="1">
                <a:hlinkClick r:id="rId5"/>
              </a:rPr>
              <a:t>nhân</a:t>
            </a:r>
            <a:r>
              <a:rPr lang="en-US" sz="900" dirty="0">
                <a:hlinkClick r:id="rId5"/>
              </a:rPr>
              <a:t> </a:t>
            </a:r>
            <a:r>
              <a:rPr lang="en-US" sz="900" dirty="0" err="1">
                <a:hlinkClick r:id="rId5"/>
              </a:rPr>
              <a:t>yên</a:t>
            </a:r>
            <a:r>
              <a:rPr lang="en-US" sz="900" dirty="0">
                <a:hlinkClick r:id="rId5"/>
              </a:rPr>
              <a:t> </a:t>
            </a:r>
            <a:r>
              <a:rPr lang="en-US" sz="900" dirty="0" err="1">
                <a:hlinkClick r:id="rId5"/>
              </a:rPr>
              <a:t>tâm</a:t>
            </a:r>
            <a:endParaRPr 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000" b="1" dirty="0">
              <a:solidFill>
                <a:schemeClr val="tx2"/>
              </a:solidFill>
            </a:endParaRPr>
          </a:p>
        </p:txBody>
      </p:sp>
      <p:sp>
        <p:nvSpPr>
          <p:cNvPr id="284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23355" y="3134972"/>
            <a:ext cx="770112" cy="324876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285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22163" y="2022869"/>
            <a:ext cx="6843736" cy="24306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286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22163" y="2290777"/>
            <a:ext cx="3646579" cy="2553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287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87265" y="2290777"/>
            <a:ext cx="3646579" cy="2553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288" name="正方形/長方形 4">
            <a:extLst>
              <a:ext uri="{FF2B5EF4-FFF2-40B4-BE49-F238E27FC236}">
                <a16:creationId xmlns="" xmlns:a16="http://schemas.microsoft.com/office/drawing/2014/main" id="{89C3A174-FEE8-415D-A076-B2F7E57E4589}"/>
              </a:ext>
            </a:extLst>
          </p:cNvPr>
          <p:cNvSpPr/>
          <p:nvPr/>
        </p:nvSpPr>
        <p:spPr>
          <a:xfrm>
            <a:off x="5105305" y="3824054"/>
            <a:ext cx="1414180" cy="9471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Mr. TRUONG VAN NGOC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Mr. TRUONG DO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Mr. NGUYEN HOANG AN</a:t>
            </a:r>
          </a:p>
        </p:txBody>
      </p:sp>
      <p:sp>
        <p:nvSpPr>
          <p:cNvPr id="289" name="正方形/長方形 4">
            <a:extLst>
              <a:ext uri="{FF2B5EF4-FFF2-40B4-BE49-F238E27FC236}">
                <a16:creationId xmlns="" xmlns:a16="http://schemas.microsoft.com/office/drawing/2014/main" id="{1C446BDF-0F13-4538-841F-BED344FE2D95}"/>
              </a:ext>
            </a:extLst>
          </p:cNvPr>
          <p:cNvSpPr/>
          <p:nvPr/>
        </p:nvSpPr>
        <p:spPr>
          <a:xfrm>
            <a:off x="6519485" y="3824054"/>
            <a:ext cx="429625" cy="9471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1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4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50%</a:t>
            </a:r>
          </a:p>
        </p:txBody>
      </p:sp>
      <p:sp>
        <p:nvSpPr>
          <p:cNvPr id="290" name="Rectangle 289">
            <a:extLst>
              <a:ext uri="{FF2B5EF4-FFF2-40B4-BE49-F238E27FC236}">
                <a16:creationId xmlns="" xmlns:a16="http://schemas.microsoft.com/office/drawing/2014/main" id="{A6CCCE66-7103-42EB-86BF-3731389D4D0B}"/>
              </a:ext>
            </a:extLst>
          </p:cNvPr>
          <p:cNvSpPr/>
          <p:nvPr/>
        </p:nvSpPr>
        <p:spPr>
          <a:xfrm>
            <a:off x="7026284" y="3802830"/>
            <a:ext cx="17551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/>
              <a:t>48-49-50 Bai Say - Ward 1, 6 District, </a:t>
            </a:r>
          </a:p>
          <a:p>
            <a:r>
              <a:rPr lang="en-US" sz="600" dirty="0"/>
              <a:t>Ho Chi Minh City</a:t>
            </a:r>
          </a:p>
          <a:p>
            <a:r>
              <a:rPr lang="en-US" sz="600" dirty="0"/>
              <a:t>Vietnam </a:t>
            </a:r>
          </a:p>
          <a:p>
            <a:r>
              <a:rPr lang="en-US" sz="600" dirty="0"/>
              <a:t>(84-8) 3859 0120 </a:t>
            </a:r>
          </a:p>
          <a:p>
            <a:r>
              <a:rPr lang="en-US" sz="600" dirty="0"/>
              <a:t>(84-8) 3855 5132 </a:t>
            </a:r>
          </a:p>
          <a:p>
            <a:r>
              <a:rPr lang="en-US" sz="600" dirty="0"/>
              <a:t>hitaco@hcm.vnn.vn </a:t>
            </a:r>
          </a:p>
          <a:p>
            <a:r>
              <a:rPr lang="en-US" sz="600" dirty="0"/>
              <a:t>www.hiepthanhplastic.com.vn </a:t>
            </a:r>
          </a:p>
          <a:p>
            <a:endParaRPr lang="en-US" sz="600" dirty="0"/>
          </a:p>
        </p:txBody>
      </p:sp>
      <p:graphicFrame>
        <p:nvGraphicFramePr>
          <p:cNvPr id="291" name="Table 290">
            <a:extLst>
              <a:ext uri="{FF2B5EF4-FFF2-40B4-BE49-F238E27FC236}">
                <a16:creationId xmlns="" xmlns:a16="http://schemas.microsoft.com/office/drawing/2014/main" id="{1027FB00-6D11-4E24-BEA9-3BFF69F1967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28799" y="5137596"/>
          <a:ext cx="3371764" cy="639531"/>
        </p:xfrm>
        <a:graphic>
          <a:graphicData uri="http://schemas.openxmlformats.org/drawingml/2006/table">
            <a:tbl>
              <a:tblPr firstRow="1" firstCol="1" bandRow="1">
                <a:tableStyleId>{D5C30875-5027-47A9-8995-C2BF9F8F2FF4}</a:tableStyleId>
              </a:tblPr>
              <a:tblGrid>
                <a:gridCol w="1597150">
                  <a:extLst>
                    <a:ext uri="{9D8B030D-6E8A-4147-A177-3AD203B41FA5}">
                      <a16:colId xmlns="" xmlns:a16="http://schemas.microsoft.com/office/drawing/2014/main" val="2780763351"/>
                    </a:ext>
                  </a:extLst>
                </a:gridCol>
                <a:gridCol w="591538">
                  <a:extLst>
                    <a:ext uri="{9D8B030D-6E8A-4147-A177-3AD203B41FA5}">
                      <a16:colId xmlns="" xmlns:a16="http://schemas.microsoft.com/office/drawing/2014/main" val="171441122"/>
                    </a:ext>
                  </a:extLst>
                </a:gridCol>
                <a:gridCol w="591538">
                  <a:extLst>
                    <a:ext uri="{9D8B030D-6E8A-4147-A177-3AD203B41FA5}">
                      <a16:colId xmlns="" xmlns:a16="http://schemas.microsoft.com/office/drawing/2014/main" val="4132992648"/>
                    </a:ext>
                  </a:extLst>
                </a:gridCol>
                <a:gridCol w="591538">
                  <a:extLst>
                    <a:ext uri="{9D8B030D-6E8A-4147-A177-3AD203B41FA5}">
                      <a16:colId xmlns="" xmlns:a16="http://schemas.microsoft.com/office/drawing/2014/main" val="1008588363"/>
                    </a:ext>
                  </a:extLst>
                </a:gridCol>
              </a:tblGrid>
              <a:tr h="21317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FY2010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FY2009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FY2008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740918961"/>
                  </a:ext>
                </a:extLst>
              </a:tr>
              <a:tr h="213177">
                <a:tc>
                  <a:txBody>
                    <a:bodyPr/>
                    <a:lstStyle/>
                    <a:p>
                      <a:pPr marL="0" marR="0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Total Sales 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310,583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230,355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246,328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221541083"/>
                  </a:ext>
                </a:extLst>
              </a:tr>
              <a:tr h="213177">
                <a:tc>
                  <a:txBody>
                    <a:bodyPr/>
                    <a:lstStyle/>
                    <a:p>
                      <a:pPr marL="0" marR="0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Net operating profit 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2,089 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>
                          <a:effectLst/>
                          <a:latin typeface="+mn-lt"/>
                        </a:rPr>
                        <a:t>1,556 </a:t>
                      </a:r>
                      <a:endParaRPr lang="en-US" sz="90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886 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3609543877"/>
                  </a:ext>
                </a:extLst>
              </a:tr>
            </a:tbl>
          </a:graphicData>
        </a:graphic>
      </p:graphicFrame>
      <p:graphicFrame>
        <p:nvGraphicFramePr>
          <p:cNvPr id="292" name="Table 291">
            <a:extLst>
              <a:ext uri="{FF2B5EF4-FFF2-40B4-BE49-F238E27FC236}">
                <a16:creationId xmlns="" xmlns:a16="http://schemas.microsoft.com/office/drawing/2014/main" id="{AB40012E-834F-40BC-9964-342795090AC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28798" y="5743881"/>
          <a:ext cx="3371765" cy="426354"/>
        </p:xfrm>
        <a:graphic>
          <a:graphicData uri="http://schemas.openxmlformats.org/drawingml/2006/table">
            <a:tbl>
              <a:tblPr firstRow="1" firstCol="1" bandRow="1">
                <a:tableStyleId>{D5C30875-5027-47A9-8995-C2BF9F8F2FF4}</a:tableStyleId>
              </a:tblPr>
              <a:tblGrid>
                <a:gridCol w="1597151">
                  <a:extLst>
                    <a:ext uri="{9D8B030D-6E8A-4147-A177-3AD203B41FA5}">
                      <a16:colId xmlns="" xmlns:a16="http://schemas.microsoft.com/office/drawing/2014/main" val="2780763351"/>
                    </a:ext>
                  </a:extLst>
                </a:gridCol>
                <a:gridCol w="591538">
                  <a:extLst>
                    <a:ext uri="{9D8B030D-6E8A-4147-A177-3AD203B41FA5}">
                      <a16:colId xmlns="" xmlns:a16="http://schemas.microsoft.com/office/drawing/2014/main" val="171441122"/>
                    </a:ext>
                  </a:extLst>
                </a:gridCol>
                <a:gridCol w="591538">
                  <a:extLst>
                    <a:ext uri="{9D8B030D-6E8A-4147-A177-3AD203B41FA5}">
                      <a16:colId xmlns="" xmlns:a16="http://schemas.microsoft.com/office/drawing/2014/main" val="4132992648"/>
                    </a:ext>
                  </a:extLst>
                </a:gridCol>
                <a:gridCol w="591538">
                  <a:extLst>
                    <a:ext uri="{9D8B030D-6E8A-4147-A177-3AD203B41FA5}">
                      <a16:colId xmlns="" xmlns:a16="http://schemas.microsoft.com/office/drawing/2014/main" val="1008588363"/>
                    </a:ext>
                  </a:extLst>
                </a:gridCol>
              </a:tblGrid>
              <a:tr h="213177">
                <a:tc>
                  <a:txBody>
                    <a:bodyPr/>
                    <a:lstStyle/>
                    <a:p>
                      <a:pPr marL="0" marR="0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221541083"/>
                  </a:ext>
                </a:extLst>
              </a:tr>
              <a:tr h="213177">
                <a:tc>
                  <a:txBody>
                    <a:bodyPr/>
                    <a:lstStyle/>
                    <a:p>
                      <a:pPr marL="0" marR="0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Employee count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100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120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250"/>
                        </a:spcBef>
                        <a:spcAft>
                          <a:spcPts val="250"/>
                        </a:spcAft>
                      </a:pPr>
                      <a:r>
                        <a:rPr lang="en-US" sz="800" dirty="0">
                          <a:effectLst/>
                          <a:latin typeface="+mn-lt"/>
                        </a:rPr>
                        <a:t>130</a:t>
                      </a:r>
                      <a:endParaRPr lang="en-US" sz="900" dirty="0">
                        <a:effectLst/>
                        <a:latin typeface="+mn-lt"/>
                        <a:ea typeface="Batang" panose="02030600000101010101" pitchFamily="18" charset="-127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3609543877"/>
                  </a:ext>
                </a:extLst>
              </a:tr>
            </a:tbl>
          </a:graphicData>
        </a:graphic>
      </p:graphicFrame>
      <p:sp>
        <p:nvSpPr>
          <p:cNvPr id="29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400024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9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420825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9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420799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9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431186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9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441574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29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362494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9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72882" y="2779501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grpSp>
        <p:nvGrpSpPr>
          <p:cNvPr id="300" name="Group 299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30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02" name="Group 301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303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4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5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6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7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0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1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2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3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4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5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16" name="Group 315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31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18" name="Group 317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319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0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1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2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3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5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6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28" name="Group 327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32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30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331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2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3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4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1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3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6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2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3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4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7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8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9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0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1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2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3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4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3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4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5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3420799" y="1221904"/>
            <a:ext cx="1666466" cy="29340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807169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3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44" name="Group 543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45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6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7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8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9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0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1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2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3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56792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Company Level Penetration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85110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Total Selected Compan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13428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people in selected compan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7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841745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verage Predictive Company Scor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277" y="2378369"/>
            <a:ext cx="1334675" cy="1478939"/>
          </a:xfrm>
          <a:prstGeom prst="rect">
            <a:avLst/>
          </a:prstGeom>
        </p:spPr>
      </p:pic>
      <p:sp>
        <p:nvSpPr>
          <p:cNvPr id="27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62433" y="2734072"/>
            <a:ext cx="1546445" cy="9930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companies</a:t>
            </a:r>
          </a:p>
          <a:p>
            <a:pPr algn="ctr"/>
            <a:r>
              <a:rPr kumimoji="1" lang="en-US" altLang="ja-JP" sz="2800" b="1" dirty="0" smtClean="0">
                <a:solidFill>
                  <a:schemeClr val="accent5"/>
                </a:solidFill>
              </a:rPr>
              <a:t>123,435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2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31" y="2734072"/>
            <a:ext cx="1546445" cy="9930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people</a:t>
            </a:r>
          </a:p>
          <a:p>
            <a:pPr algn="ctr"/>
            <a:r>
              <a:rPr kumimoji="1" lang="en-US" altLang="ja-JP" sz="2800" b="1" dirty="0" smtClean="0">
                <a:solidFill>
                  <a:schemeClr val="accent5"/>
                </a:solidFill>
              </a:rPr>
              <a:t>234,435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7379869" y="2571844"/>
            <a:ext cx="590288" cy="866497"/>
            <a:chOff x="4365373" y="4050371"/>
            <a:chExt cx="2349815" cy="866497"/>
          </a:xfrm>
        </p:grpSpPr>
        <p:cxnSp>
          <p:nvCxnSpPr>
            <p:cNvPr id="278" name="Gerade Verbindung 112"/>
            <p:cNvCxnSpPr/>
            <p:nvPr/>
          </p:nvCxnSpPr>
          <p:spPr bwMode="gray">
            <a:xfrm flipH="1">
              <a:off x="4365373" y="4743568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Gerade Verbindung 113"/>
            <p:cNvCxnSpPr/>
            <p:nvPr/>
          </p:nvCxnSpPr>
          <p:spPr bwMode="gray">
            <a:xfrm flipH="1">
              <a:off x="4365373" y="4570269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Gerade Verbindung 114"/>
            <p:cNvCxnSpPr/>
            <p:nvPr/>
          </p:nvCxnSpPr>
          <p:spPr bwMode="gray">
            <a:xfrm flipH="1">
              <a:off x="4365373" y="4396970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Gerade Verbindung 115"/>
            <p:cNvCxnSpPr/>
            <p:nvPr/>
          </p:nvCxnSpPr>
          <p:spPr bwMode="gray">
            <a:xfrm flipH="1">
              <a:off x="4365373" y="4050371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Gerade Verbindung 116"/>
            <p:cNvCxnSpPr/>
            <p:nvPr/>
          </p:nvCxnSpPr>
          <p:spPr bwMode="gray">
            <a:xfrm flipH="1">
              <a:off x="4365373" y="4916868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Gerade Verbindung 117"/>
            <p:cNvCxnSpPr/>
            <p:nvPr/>
          </p:nvCxnSpPr>
          <p:spPr bwMode="gray">
            <a:xfrm flipH="1">
              <a:off x="4365373" y="4223671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4" name="Textfeld 106"/>
          <p:cNvSpPr txBox="1"/>
          <p:nvPr/>
        </p:nvSpPr>
        <p:spPr bwMode="gray">
          <a:xfrm>
            <a:off x="7970157" y="2483241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100%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285" name="Textfeld 107"/>
          <p:cNvSpPr txBox="1"/>
          <p:nvPr/>
        </p:nvSpPr>
        <p:spPr bwMode="gray">
          <a:xfrm>
            <a:off x="7970157" y="2656540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8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286" name="Textfeld 108"/>
          <p:cNvSpPr txBox="1"/>
          <p:nvPr/>
        </p:nvSpPr>
        <p:spPr bwMode="gray">
          <a:xfrm>
            <a:off x="7970157" y="2829839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6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287" name="Textfeld 109"/>
          <p:cNvSpPr txBox="1"/>
          <p:nvPr/>
        </p:nvSpPr>
        <p:spPr bwMode="gray">
          <a:xfrm>
            <a:off x="7970157" y="3003138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4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288" name="Textfeld 110"/>
          <p:cNvSpPr txBox="1"/>
          <p:nvPr/>
        </p:nvSpPr>
        <p:spPr bwMode="gray">
          <a:xfrm>
            <a:off x="7970157" y="3176437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2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289" name="Textfeld 111"/>
          <p:cNvSpPr txBox="1"/>
          <p:nvPr/>
        </p:nvSpPr>
        <p:spPr bwMode="gray">
          <a:xfrm>
            <a:off x="7970157" y="3349737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00" name="Textfeld 86"/>
          <p:cNvSpPr txBox="1"/>
          <p:nvPr/>
        </p:nvSpPr>
        <p:spPr bwMode="gray">
          <a:xfrm>
            <a:off x="7260120" y="3688959"/>
            <a:ext cx="869675" cy="18473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kumimoji="1" lang="de-DE" sz="800" dirty="0">
                <a:solidFill>
                  <a:schemeClr val="accent5"/>
                </a:solidFill>
              </a:rPr>
              <a:t>Predictive Meter</a:t>
            </a:r>
          </a:p>
        </p:txBody>
      </p:sp>
      <p:sp>
        <p:nvSpPr>
          <p:cNvPr id="301" name="Ellipse 4"/>
          <p:cNvSpPr/>
          <p:nvPr/>
        </p:nvSpPr>
        <p:spPr bwMode="gray">
          <a:xfrm>
            <a:off x="7581701" y="2545101"/>
            <a:ext cx="226513" cy="1132461"/>
          </a:xfrm>
          <a:custGeom>
            <a:avLst/>
            <a:gdLst/>
            <a:ahLst/>
            <a:cxnLst/>
            <a:rect l="l" t="t" r="r" b="b"/>
            <a:pathLst>
              <a:path w="866776" h="5243513">
                <a:moveTo>
                  <a:pt x="433388" y="0"/>
                </a:moveTo>
                <a:cubicBezTo>
                  <a:pt x="559956" y="0"/>
                  <a:pt x="662559" y="102603"/>
                  <a:pt x="662559" y="229171"/>
                </a:cubicBezTo>
                <a:lnTo>
                  <a:pt x="662559" y="4443621"/>
                </a:lnTo>
                <a:cubicBezTo>
                  <a:pt x="785468" y="4519232"/>
                  <a:pt x="866776" y="4655183"/>
                  <a:pt x="866776" y="4810125"/>
                </a:cubicBezTo>
                <a:cubicBezTo>
                  <a:pt x="866776" y="5049479"/>
                  <a:pt x="672742" y="5243513"/>
                  <a:pt x="433388" y="5243513"/>
                </a:cubicBezTo>
                <a:cubicBezTo>
                  <a:pt x="194034" y="5243513"/>
                  <a:pt x="0" y="5049479"/>
                  <a:pt x="0" y="4810125"/>
                </a:cubicBezTo>
                <a:cubicBezTo>
                  <a:pt x="0" y="4655183"/>
                  <a:pt x="81309" y="4519232"/>
                  <a:pt x="204217" y="4443621"/>
                </a:cubicBezTo>
                <a:lnTo>
                  <a:pt x="204217" y="229171"/>
                </a:lnTo>
                <a:cubicBezTo>
                  <a:pt x="204217" y="102603"/>
                  <a:pt x="306820" y="0"/>
                  <a:pt x="433388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7D7D7D"/>
              </a:gs>
              <a:gs pos="85000">
                <a:srgbClr val="969696"/>
              </a:gs>
              <a:gs pos="60000">
                <a:srgbClr val="C8C8C8"/>
              </a:gs>
              <a:gs pos="20000">
                <a:srgbClr val="FFFFFF"/>
              </a:gs>
            </a:gsLst>
            <a:lin ang="0" scaled="1"/>
            <a:tileRect/>
          </a:gradFill>
          <a:ln w="12700">
            <a:noFill/>
            <a:round/>
            <a:headEnd/>
            <a:tailEnd/>
          </a:ln>
          <a:effectLst>
            <a:outerShdw blurRad="1270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302" name="Abgerundetes Rechteck 89"/>
          <p:cNvSpPr/>
          <p:nvPr/>
        </p:nvSpPr>
        <p:spPr bwMode="gray">
          <a:xfrm>
            <a:off x="7668821" y="2571844"/>
            <a:ext cx="52272" cy="99566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00000">
                <a:srgbClr val="E6E6E6"/>
              </a:gs>
              <a:gs pos="0">
                <a:srgbClr val="7D7D7D"/>
              </a:gs>
            </a:gsLst>
            <a:lin ang="0" scaled="1"/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303" name="Abgerundetes Rechteck 90"/>
          <p:cNvSpPr/>
          <p:nvPr/>
        </p:nvSpPr>
        <p:spPr bwMode="gray">
          <a:xfrm rot="10800000">
            <a:off x="7668821" y="2849971"/>
            <a:ext cx="52272" cy="697374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304" name="Ellipse 91"/>
          <p:cNvSpPr/>
          <p:nvPr/>
        </p:nvSpPr>
        <p:spPr bwMode="gray">
          <a:xfrm>
            <a:off x="7622772" y="3524304"/>
            <a:ext cx="144372" cy="119315"/>
          </a:xfrm>
          <a:prstGeom prst="ellipse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sz="1100"/>
          </a:p>
        </p:txBody>
      </p:sp>
      <p:sp>
        <p:nvSpPr>
          <p:cNvPr id="320" name="Rechteck 202"/>
          <p:cNvSpPr/>
          <p:nvPr/>
        </p:nvSpPr>
        <p:spPr bwMode="gray">
          <a:xfrm>
            <a:off x="2118351" y="4391236"/>
            <a:ext cx="1391480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1" name="Rechteck 205"/>
          <p:cNvSpPr/>
          <p:nvPr/>
        </p:nvSpPr>
        <p:spPr bwMode="gray">
          <a:xfrm>
            <a:off x="2118351" y="4641505"/>
            <a:ext cx="1250498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2" name="Rechteck 206"/>
          <p:cNvSpPr/>
          <p:nvPr/>
        </p:nvSpPr>
        <p:spPr bwMode="gray">
          <a:xfrm>
            <a:off x="2118351" y="4891774"/>
            <a:ext cx="902921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3" name="Rechteck 207"/>
          <p:cNvSpPr/>
          <p:nvPr/>
        </p:nvSpPr>
        <p:spPr bwMode="gray">
          <a:xfrm>
            <a:off x="2118351" y="5142043"/>
            <a:ext cx="838086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5" name="Rechteck 208"/>
          <p:cNvSpPr/>
          <p:nvPr/>
        </p:nvSpPr>
        <p:spPr bwMode="gray">
          <a:xfrm>
            <a:off x="2118353" y="5392312"/>
            <a:ext cx="488788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2" name="Textfeld 219"/>
          <p:cNvSpPr txBox="1"/>
          <p:nvPr/>
        </p:nvSpPr>
        <p:spPr bwMode="gray">
          <a:xfrm>
            <a:off x="1414343" y="4391236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$0-5million</a:t>
            </a:r>
          </a:p>
        </p:txBody>
      </p:sp>
      <p:sp>
        <p:nvSpPr>
          <p:cNvPr id="353" name="Textfeld 220"/>
          <p:cNvSpPr txBox="1"/>
          <p:nvPr/>
        </p:nvSpPr>
        <p:spPr bwMode="gray">
          <a:xfrm>
            <a:off x="1414343" y="4641505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$5-10million</a:t>
            </a:r>
          </a:p>
        </p:txBody>
      </p:sp>
      <p:sp>
        <p:nvSpPr>
          <p:cNvPr id="354" name="Textfeld 221"/>
          <p:cNvSpPr txBox="1"/>
          <p:nvPr/>
        </p:nvSpPr>
        <p:spPr bwMode="gray">
          <a:xfrm>
            <a:off x="1414343" y="487909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$10-20million</a:t>
            </a:r>
          </a:p>
        </p:txBody>
      </p:sp>
      <p:sp>
        <p:nvSpPr>
          <p:cNvPr id="597" name="Textfeld 222"/>
          <p:cNvSpPr txBox="1"/>
          <p:nvPr/>
        </p:nvSpPr>
        <p:spPr bwMode="gray">
          <a:xfrm>
            <a:off x="1414343" y="512936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$20-50million</a:t>
            </a:r>
          </a:p>
        </p:txBody>
      </p:sp>
      <p:sp>
        <p:nvSpPr>
          <p:cNvPr id="598" name="Textfeld 223"/>
          <p:cNvSpPr txBox="1"/>
          <p:nvPr/>
        </p:nvSpPr>
        <p:spPr bwMode="gray">
          <a:xfrm>
            <a:off x="1414343" y="5392313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&gt;$50million</a:t>
            </a:r>
          </a:p>
        </p:txBody>
      </p:sp>
      <p:sp>
        <p:nvSpPr>
          <p:cNvPr id="60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24889" y="4030216"/>
            <a:ext cx="2264151" cy="157108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enue vs. Predictive scor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612" name="Rechteck 202"/>
          <p:cNvSpPr/>
          <p:nvPr/>
        </p:nvSpPr>
        <p:spPr bwMode="gray">
          <a:xfrm>
            <a:off x="4653673" y="4391236"/>
            <a:ext cx="1391480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3" name="Rechteck 205"/>
          <p:cNvSpPr/>
          <p:nvPr/>
        </p:nvSpPr>
        <p:spPr bwMode="gray">
          <a:xfrm>
            <a:off x="4653673" y="4641505"/>
            <a:ext cx="1250498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4" name="Rechteck 206"/>
          <p:cNvSpPr/>
          <p:nvPr/>
        </p:nvSpPr>
        <p:spPr bwMode="gray">
          <a:xfrm>
            <a:off x="4653673" y="4891774"/>
            <a:ext cx="902921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5" name="Rechteck 207"/>
          <p:cNvSpPr/>
          <p:nvPr/>
        </p:nvSpPr>
        <p:spPr bwMode="gray">
          <a:xfrm>
            <a:off x="4653673" y="5142043"/>
            <a:ext cx="838086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6" name="Rechteck 208"/>
          <p:cNvSpPr/>
          <p:nvPr/>
        </p:nvSpPr>
        <p:spPr bwMode="gray">
          <a:xfrm>
            <a:off x="4653675" y="5392312"/>
            <a:ext cx="488788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06" name="Textfeld 219"/>
          <p:cNvSpPr txBox="1"/>
          <p:nvPr/>
        </p:nvSpPr>
        <p:spPr bwMode="gray">
          <a:xfrm>
            <a:off x="3949665" y="4391236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1-100</a:t>
            </a:r>
          </a:p>
        </p:txBody>
      </p:sp>
      <p:sp>
        <p:nvSpPr>
          <p:cNvPr id="607" name="Textfeld 220"/>
          <p:cNvSpPr txBox="1"/>
          <p:nvPr/>
        </p:nvSpPr>
        <p:spPr bwMode="gray">
          <a:xfrm>
            <a:off x="3949665" y="4641505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100-500</a:t>
            </a:r>
          </a:p>
        </p:txBody>
      </p:sp>
      <p:sp>
        <p:nvSpPr>
          <p:cNvPr id="608" name="Textfeld 221"/>
          <p:cNvSpPr txBox="1"/>
          <p:nvPr/>
        </p:nvSpPr>
        <p:spPr bwMode="gray">
          <a:xfrm>
            <a:off x="3949665" y="487909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500-1000</a:t>
            </a:r>
          </a:p>
        </p:txBody>
      </p:sp>
      <p:sp>
        <p:nvSpPr>
          <p:cNvPr id="609" name="Textfeld 222"/>
          <p:cNvSpPr txBox="1"/>
          <p:nvPr/>
        </p:nvSpPr>
        <p:spPr bwMode="gray">
          <a:xfrm>
            <a:off x="3949665" y="512936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1000-5000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610" name="Textfeld 223"/>
          <p:cNvSpPr txBox="1"/>
          <p:nvPr/>
        </p:nvSpPr>
        <p:spPr bwMode="gray">
          <a:xfrm>
            <a:off x="3949665" y="5392313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&gt; 5000</a:t>
            </a:r>
          </a:p>
        </p:txBody>
      </p:sp>
      <p:sp>
        <p:nvSpPr>
          <p:cNvPr id="6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860211" y="4030216"/>
            <a:ext cx="2264151" cy="157108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Employee counts vs. Predictive scor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625" name="Rechteck 202"/>
          <p:cNvSpPr/>
          <p:nvPr/>
        </p:nvSpPr>
        <p:spPr bwMode="gray">
          <a:xfrm>
            <a:off x="7188995" y="4391236"/>
            <a:ext cx="1391480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6" name="Rechteck 205"/>
          <p:cNvSpPr/>
          <p:nvPr/>
        </p:nvSpPr>
        <p:spPr bwMode="gray">
          <a:xfrm>
            <a:off x="7188995" y="4641505"/>
            <a:ext cx="1250498" cy="98182"/>
          </a:xfrm>
          <a:prstGeom prst="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7" name="Rechteck 206"/>
          <p:cNvSpPr/>
          <p:nvPr/>
        </p:nvSpPr>
        <p:spPr bwMode="gray">
          <a:xfrm>
            <a:off x="7188995" y="4891774"/>
            <a:ext cx="902921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8" name="Rechteck 207"/>
          <p:cNvSpPr/>
          <p:nvPr/>
        </p:nvSpPr>
        <p:spPr bwMode="gray">
          <a:xfrm>
            <a:off x="7188995" y="5142043"/>
            <a:ext cx="838086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9" name="Rechteck 208"/>
          <p:cNvSpPr/>
          <p:nvPr/>
        </p:nvSpPr>
        <p:spPr bwMode="gray">
          <a:xfrm>
            <a:off x="7188997" y="5392312"/>
            <a:ext cx="488788" cy="98182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52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76200" dist="25400" dir="5400000" algn="tl" rotWithShape="0">
              <a:prstClr val="black">
                <a:alpha val="30000"/>
              </a:prstClr>
            </a:outerShdw>
          </a:effectLst>
        </p:spPr>
        <p:txBody>
          <a:bodyPr lIns="36000" rIns="36000" rtlCol="0" anchor="ctr"/>
          <a:lstStyle/>
          <a:p>
            <a:pPr algn="ctr"/>
            <a:endParaRPr lang="de-DE" sz="1050" spc="-15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9" name="Textfeld 219"/>
          <p:cNvSpPr txBox="1"/>
          <p:nvPr/>
        </p:nvSpPr>
        <p:spPr bwMode="gray">
          <a:xfrm>
            <a:off x="6484987" y="4391236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HCMC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620" name="Textfeld 220"/>
          <p:cNvSpPr txBox="1"/>
          <p:nvPr/>
        </p:nvSpPr>
        <p:spPr bwMode="gray">
          <a:xfrm>
            <a:off x="6484987" y="4641505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Hanoi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621" name="Textfeld 221"/>
          <p:cNvSpPr txBox="1"/>
          <p:nvPr/>
        </p:nvSpPr>
        <p:spPr bwMode="gray">
          <a:xfrm>
            <a:off x="6484987" y="487909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Danang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622" name="Textfeld 222"/>
          <p:cNvSpPr txBox="1"/>
          <p:nvPr/>
        </p:nvSpPr>
        <p:spPr bwMode="gray">
          <a:xfrm>
            <a:off x="6484987" y="512936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Can Tho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623" name="Textfeld 223"/>
          <p:cNvSpPr txBox="1"/>
          <p:nvPr/>
        </p:nvSpPr>
        <p:spPr bwMode="gray">
          <a:xfrm>
            <a:off x="6484987" y="5392313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Binh Duong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6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5533" y="4030216"/>
            <a:ext cx="2264151" cy="157108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Location vs. Predictive scor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grpSp>
        <p:nvGrpSpPr>
          <p:cNvPr id="633" name="Group 632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63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35" name="Group 634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636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49" name="Group 648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65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51" name="Group 650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652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59" name="Group 658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66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61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662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5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6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7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8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9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0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1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2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3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4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5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6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7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8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9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0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1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2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3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4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5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6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7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8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9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0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1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2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3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4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5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6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7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8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9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0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1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2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3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4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5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6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7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8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9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0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1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2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3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4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5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6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7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8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9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0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1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2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3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4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5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6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7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8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9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0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1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2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3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4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5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6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7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8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9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3368849" y="1149896"/>
            <a:ext cx="1517351" cy="36540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3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61256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Rectangle 391"/>
          <p:cNvSpPr/>
          <p:nvPr/>
        </p:nvSpPr>
        <p:spPr>
          <a:xfrm>
            <a:off x="7570648" y="2302024"/>
            <a:ext cx="1202968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4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44" name="Group 543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45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6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7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8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9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0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1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2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3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633" name="Group 632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63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35" name="Group 634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636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49" name="Group 648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65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51" name="Group 650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652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59" name="Group 658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66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61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662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5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6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7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8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9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0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1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2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3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4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5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6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7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8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9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0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1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2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3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4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5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6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7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8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9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0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1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2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3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4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5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6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7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8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9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0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1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2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3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4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5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6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7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8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9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0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1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2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3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4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5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6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7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8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9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0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1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2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3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4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5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6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7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8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9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0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1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2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3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4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5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6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7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8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9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3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88976" y="2302024"/>
            <a:ext cx="3596208" cy="151216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CRM Analysi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graphicFrame>
        <p:nvGraphicFramePr>
          <p:cNvPr id="12" name="Chart 11"/>
          <p:cNvGraphicFramePr/>
          <p:nvPr>
            <p:extLst/>
          </p:nvPr>
        </p:nvGraphicFramePr>
        <p:xfrm>
          <a:off x="1309860" y="2302024"/>
          <a:ext cx="2071280" cy="1599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32" name="Straight Connector 331"/>
          <p:cNvCxnSpPr/>
          <p:nvPr/>
        </p:nvCxnSpPr>
        <p:spPr>
          <a:xfrm>
            <a:off x="2895652" y="2878088"/>
            <a:ext cx="177770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945160" y="2518048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records</a:t>
            </a:r>
          </a:p>
        </p:txBody>
      </p:sp>
      <p:cxnSp>
        <p:nvCxnSpPr>
          <p:cNvPr id="334" name="Straight Connector 333"/>
          <p:cNvCxnSpPr/>
          <p:nvPr/>
        </p:nvCxnSpPr>
        <p:spPr>
          <a:xfrm>
            <a:off x="2895652" y="3094112"/>
            <a:ext cx="177770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/>
          <p:cNvCxnSpPr/>
          <p:nvPr/>
        </p:nvCxnSpPr>
        <p:spPr>
          <a:xfrm>
            <a:off x="2895652" y="3310136"/>
            <a:ext cx="177770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/>
          <p:cNvCxnSpPr/>
          <p:nvPr/>
        </p:nvCxnSpPr>
        <p:spPr>
          <a:xfrm>
            <a:off x="2895652" y="3526160"/>
            <a:ext cx="177770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315247" y="2744769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5000</a:t>
            </a:r>
          </a:p>
        </p:txBody>
      </p:sp>
      <p:sp>
        <p:nvSpPr>
          <p:cNvPr id="35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315247" y="2960792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000</a:t>
            </a:r>
          </a:p>
        </p:txBody>
      </p:sp>
      <p:sp>
        <p:nvSpPr>
          <p:cNvPr id="35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315247" y="3169930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550</a:t>
            </a:r>
          </a:p>
        </p:txBody>
      </p:sp>
      <p:sp>
        <p:nvSpPr>
          <p:cNvPr id="36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315247" y="3376042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860</a:t>
            </a:r>
          </a:p>
        </p:txBody>
      </p:sp>
      <p:sp>
        <p:nvSpPr>
          <p:cNvPr id="36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88976" y="3958208"/>
            <a:ext cx="3596208" cy="151216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Top 5 signal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cxnSp>
        <p:nvCxnSpPr>
          <p:cNvPr id="364" name="Straight Connector 363"/>
          <p:cNvCxnSpPr/>
          <p:nvPr/>
        </p:nvCxnSpPr>
        <p:spPr>
          <a:xfrm>
            <a:off x="1362391" y="4534272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475773" y="4177020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Signal</a:t>
            </a:r>
          </a:p>
        </p:txBody>
      </p:sp>
      <p:cxnSp>
        <p:nvCxnSpPr>
          <p:cNvPr id="366" name="Straight Connector 365"/>
          <p:cNvCxnSpPr/>
          <p:nvPr/>
        </p:nvCxnSpPr>
        <p:spPr>
          <a:xfrm>
            <a:off x="1362391" y="4750296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Straight Connector 366"/>
          <p:cNvCxnSpPr/>
          <p:nvPr/>
        </p:nvCxnSpPr>
        <p:spPr>
          <a:xfrm>
            <a:off x="1362391" y="4966320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Straight Connector 367"/>
          <p:cNvCxnSpPr/>
          <p:nvPr/>
        </p:nvCxnSpPr>
        <p:spPr>
          <a:xfrm>
            <a:off x="1362391" y="5182344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845860" y="4400953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Manufacturing</a:t>
            </a:r>
          </a:p>
        </p:txBody>
      </p:sp>
      <p:sp>
        <p:nvSpPr>
          <p:cNvPr id="3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845860" y="4616976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. 50-100mil</a:t>
            </a:r>
          </a:p>
        </p:txBody>
      </p:sp>
      <p:sp>
        <p:nvSpPr>
          <p:cNvPr id="3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14524" y="4826114"/>
            <a:ext cx="1056243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err="1" smtClean="0">
                <a:solidFill>
                  <a:schemeClr val="accent5"/>
                </a:solidFill>
              </a:rPr>
              <a:t>Empl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counts 100-500</a:t>
            </a:r>
          </a:p>
        </p:txBody>
      </p:sp>
      <p:sp>
        <p:nvSpPr>
          <p:cNvPr id="37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845860" y="5032226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</a:p>
        </p:txBody>
      </p:sp>
      <p:cxnSp>
        <p:nvCxnSpPr>
          <p:cNvPr id="373" name="Straight Connector 372"/>
          <p:cNvCxnSpPr/>
          <p:nvPr/>
        </p:nvCxnSpPr>
        <p:spPr>
          <a:xfrm>
            <a:off x="2895652" y="2687464"/>
            <a:ext cx="177770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/>
          <p:cNvCxnSpPr/>
          <p:nvPr/>
        </p:nvCxnSpPr>
        <p:spPr>
          <a:xfrm>
            <a:off x="1362391" y="4343648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88318" y="4177020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Success rate</a:t>
            </a:r>
          </a:p>
        </p:txBody>
      </p:sp>
      <p:sp>
        <p:nvSpPr>
          <p:cNvPr id="3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658405" y="4400953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>
                <a:solidFill>
                  <a:schemeClr val="accent5"/>
                </a:solidFill>
              </a:rPr>
              <a:t>9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5%</a:t>
            </a:r>
          </a:p>
        </p:txBody>
      </p:sp>
      <p:sp>
        <p:nvSpPr>
          <p:cNvPr id="3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658405" y="4616976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80%</a:t>
            </a:r>
          </a:p>
        </p:txBody>
      </p:sp>
      <p:sp>
        <p:nvSpPr>
          <p:cNvPr id="3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658405" y="4826114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79%</a:t>
            </a:r>
          </a:p>
        </p:txBody>
      </p:sp>
      <p:sp>
        <p:nvSpPr>
          <p:cNvPr id="37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658405" y="5032226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77%</a:t>
            </a:r>
          </a:p>
        </p:txBody>
      </p:sp>
      <p:cxnSp>
        <p:nvCxnSpPr>
          <p:cNvPr id="380" name="Straight Connector 379"/>
          <p:cNvCxnSpPr/>
          <p:nvPr/>
        </p:nvCxnSpPr>
        <p:spPr>
          <a:xfrm>
            <a:off x="3174936" y="4319695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66" y="2302024"/>
            <a:ext cx="3596208" cy="151216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 smtClean="0">
                <a:solidFill>
                  <a:schemeClr val="accent5"/>
                </a:solidFill>
              </a:rPr>
              <a:t>Recommended Segment 1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cxnSp>
        <p:nvCxnSpPr>
          <p:cNvPr id="393" name="Straight Connector 392"/>
          <p:cNvCxnSpPr/>
          <p:nvPr/>
        </p:nvCxnSpPr>
        <p:spPr>
          <a:xfrm>
            <a:off x="7760296" y="2996704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43195" y="2478312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b="1" dirty="0" smtClean="0">
                <a:solidFill>
                  <a:schemeClr val="accent5"/>
                </a:solidFill>
              </a:rPr>
              <a:t>Signal</a:t>
            </a:r>
          </a:p>
        </p:txBody>
      </p:sp>
      <p:cxnSp>
        <p:nvCxnSpPr>
          <p:cNvPr id="395" name="Straight Connector 394"/>
          <p:cNvCxnSpPr/>
          <p:nvPr/>
        </p:nvCxnSpPr>
        <p:spPr>
          <a:xfrm>
            <a:off x="7760296" y="3212728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Straight Connector 395"/>
          <p:cNvCxnSpPr/>
          <p:nvPr/>
        </p:nvCxnSpPr>
        <p:spPr>
          <a:xfrm>
            <a:off x="7760296" y="3428752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Straight Connector 396"/>
          <p:cNvCxnSpPr/>
          <p:nvPr/>
        </p:nvCxnSpPr>
        <p:spPr>
          <a:xfrm>
            <a:off x="7760296" y="3644776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2863385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Manufacturing</a:t>
            </a:r>
          </a:p>
        </p:txBody>
      </p:sp>
      <p:sp>
        <p:nvSpPr>
          <p:cNvPr id="39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3079408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. 50-100mil</a:t>
            </a:r>
          </a:p>
        </p:txBody>
      </p:sp>
      <p:sp>
        <p:nvSpPr>
          <p:cNvPr id="40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688296" y="3288546"/>
            <a:ext cx="1056243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err="1" smtClean="0">
                <a:solidFill>
                  <a:schemeClr val="accent5"/>
                </a:solidFill>
              </a:rPr>
              <a:t>Empl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counts 100-500</a:t>
            </a:r>
          </a:p>
        </p:txBody>
      </p:sp>
      <p:sp>
        <p:nvSpPr>
          <p:cNvPr id="40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3494658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</a:p>
        </p:txBody>
      </p:sp>
      <p:cxnSp>
        <p:nvCxnSpPr>
          <p:cNvPr id="402" name="Straight Connector 401"/>
          <p:cNvCxnSpPr/>
          <p:nvPr/>
        </p:nvCxnSpPr>
        <p:spPr>
          <a:xfrm>
            <a:off x="7760296" y="2662064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02212" y="2519104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 smtClean="0">
                <a:solidFill>
                  <a:schemeClr val="accent5"/>
                </a:solidFill>
              </a:rPr>
              <a:t>435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Addressable market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sp>
        <p:nvSpPr>
          <p:cNvPr id="40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88290" y="2519104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 smtClean="0">
                <a:solidFill>
                  <a:schemeClr val="accent5"/>
                </a:solidFill>
              </a:rPr>
              <a:t>95%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Success rate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graphicFrame>
        <p:nvGraphicFramePr>
          <p:cNvPr id="31" name="Chart 30"/>
          <p:cNvGraphicFramePr/>
          <p:nvPr>
            <p:extLst/>
          </p:nvPr>
        </p:nvGraphicFramePr>
        <p:xfrm>
          <a:off x="5180871" y="2834192"/>
          <a:ext cx="2156048" cy="948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0" name="Rectangle 409"/>
          <p:cNvSpPr/>
          <p:nvPr/>
        </p:nvSpPr>
        <p:spPr>
          <a:xfrm>
            <a:off x="7570648" y="3950315"/>
            <a:ext cx="1202968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66" y="3950315"/>
            <a:ext cx="3596208" cy="151216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 smtClean="0">
                <a:solidFill>
                  <a:schemeClr val="accent5"/>
                </a:solidFill>
              </a:rPr>
              <a:t>Recommended Segment 2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cxnSp>
        <p:nvCxnSpPr>
          <p:cNvPr id="412" name="Straight Connector 411"/>
          <p:cNvCxnSpPr/>
          <p:nvPr/>
        </p:nvCxnSpPr>
        <p:spPr>
          <a:xfrm>
            <a:off x="7760296" y="4644995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43195" y="4126603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b="1" dirty="0" smtClean="0">
                <a:solidFill>
                  <a:schemeClr val="accent5"/>
                </a:solidFill>
              </a:rPr>
              <a:t>Signal</a:t>
            </a:r>
          </a:p>
        </p:txBody>
      </p:sp>
      <p:cxnSp>
        <p:nvCxnSpPr>
          <p:cNvPr id="414" name="Straight Connector 413"/>
          <p:cNvCxnSpPr/>
          <p:nvPr/>
        </p:nvCxnSpPr>
        <p:spPr>
          <a:xfrm>
            <a:off x="7760296" y="4861019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414"/>
          <p:cNvCxnSpPr/>
          <p:nvPr/>
        </p:nvCxnSpPr>
        <p:spPr>
          <a:xfrm>
            <a:off x="7760296" y="5077043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Straight Connector 415"/>
          <p:cNvCxnSpPr/>
          <p:nvPr/>
        </p:nvCxnSpPr>
        <p:spPr>
          <a:xfrm>
            <a:off x="7760296" y="5293067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4511676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OEM</a:t>
            </a:r>
          </a:p>
        </p:txBody>
      </p:sp>
      <p:sp>
        <p:nvSpPr>
          <p:cNvPr id="41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4727699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. 50-100mil</a:t>
            </a:r>
          </a:p>
        </p:txBody>
      </p:sp>
      <p:sp>
        <p:nvSpPr>
          <p:cNvPr id="41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688296" y="4936837"/>
            <a:ext cx="1056243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err="1" smtClean="0">
                <a:solidFill>
                  <a:schemeClr val="accent5"/>
                </a:solidFill>
              </a:rPr>
              <a:t>Empl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counts 100-500</a:t>
            </a:r>
          </a:p>
        </p:txBody>
      </p:sp>
      <p:sp>
        <p:nvSpPr>
          <p:cNvPr id="42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5142949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anoi</a:t>
            </a:r>
          </a:p>
        </p:txBody>
      </p:sp>
      <p:cxnSp>
        <p:nvCxnSpPr>
          <p:cNvPr id="421" name="Straight Connector 420"/>
          <p:cNvCxnSpPr/>
          <p:nvPr/>
        </p:nvCxnSpPr>
        <p:spPr>
          <a:xfrm>
            <a:off x="7760296" y="4310355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02212" y="4167395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 smtClean="0">
                <a:solidFill>
                  <a:schemeClr val="accent5"/>
                </a:solidFill>
              </a:rPr>
              <a:t>2,435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Addressable market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sp>
        <p:nvSpPr>
          <p:cNvPr id="4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88290" y="4167395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>
                <a:solidFill>
                  <a:schemeClr val="accent5"/>
                </a:solidFill>
              </a:rPr>
              <a:t>7</a:t>
            </a:r>
            <a:r>
              <a:rPr kumimoji="1" lang="en-US" altLang="ja-JP" sz="1800" b="1" dirty="0" smtClean="0">
                <a:solidFill>
                  <a:schemeClr val="accent5"/>
                </a:solidFill>
              </a:rPr>
              <a:t>5%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Success rate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graphicFrame>
        <p:nvGraphicFramePr>
          <p:cNvPr id="424" name="Chart 423"/>
          <p:cNvGraphicFramePr/>
          <p:nvPr>
            <p:extLst/>
          </p:nvPr>
        </p:nvGraphicFramePr>
        <p:xfrm>
          <a:off x="5180871" y="4482483"/>
          <a:ext cx="2156048" cy="948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Rectangle 1"/>
          <p:cNvSpPr/>
          <p:nvPr/>
        </p:nvSpPr>
        <p:spPr>
          <a:xfrm>
            <a:off x="3690831" y="1149896"/>
            <a:ext cx="1842425" cy="36540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4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54733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5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44" name="Group 543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45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6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7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8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9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0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1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2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3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633" name="Group 632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63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35" name="Group 634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636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49" name="Group 648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65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51" name="Group 650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652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59" name="Group 658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66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61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662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5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6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7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8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9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0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1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2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3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4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5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6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7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8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9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0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1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2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3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4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5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6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7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8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9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0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1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2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3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4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5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6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7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8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9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0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1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2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3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4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5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6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7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8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9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0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1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2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3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4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5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6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7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8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9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0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1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2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3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4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5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6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7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8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9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0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1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2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3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4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5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6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7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8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9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4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88976" y="2342282"/>
            <a:ext cx="3596208" cy="295232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Segment attractiveness (size, growth, strategic priorities)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428" name="Freeform 427"/>
          <p:cNvSpPr/>
          <p:nvPr/>
        </p:nvSpPr>
        <p:spPr bwMode="auto">
          <a:xfrm>
            <a:off x="2253643" y="2806080"/>
            <a:ext cx="2343509" cy="2347395"/>
          </a:xfrm>
          <a:custGeom>
            <a:avLst/>
            <a:gdLst>
              <a:gd name="connsiteX0" fmla="*/ 201561 w 4151670"/>
              <a:gd name="connsiteY0" fmla="*/ 388374 h 3780503"/>
              <a:gd name="connsiteX1" fmla="*/ 437535 w 4151670"/>
              <a:gd name="connsiteY1" fmla="*/ 108155 h 3780503"/>
              <a:gd name="connsiteX2" fmla="*/ 968477 w 4151670"/>
              <a:gd name="connsiteY2" fmla="*/ 93406 h 3780503"/>
              <a:gd name="connsiteX3" fmla="*/ 1337186 w 4151670"/>
              <a:gd name="connsiteY3" fmla="*/ 668593 h 3780503"/>
              <a:gd name="connsiteX4" fmla="*/ 1543664 w 4151670"/>
              <a:gd name="connsiteY4" fmla="*/ 1494503 h 3780503"/>
              <a:gd name="connsiteX5" fmla="*/ 2369573 w 4151670"/>
              <a:gd name="connsiteY5" fmla="*/ 1877961 h 3780503"/>
              <a:gd name="connsiteX6" fmla="*/ 3092244 w 4151670"/>
              <a:gd name="connsiteY6" fmla="*/ 1612490 h 3780503"/>
              <a:gd name="connsiteX7" fmla="*/ 3401961 w 4151670"/>
              <a:gd name="connsiteY7" fmla="*/ 1435510 h 3780503"/>
              <a:gd name="connsiteX8" fmla="*/ 3844412 w 4151670"/>
              <a:gd name="connsiteY8" fmla="*/ 1509252 h 3780503"/>
              <a:gd name="connsiteX9" fmla="*/ 4036141 w 4151670"/>
              <a:gd name="connsiteY9" fmla="*/ 2040193 h 3780503"/>
              <a:gd name="connsiteX10" fmla="*/ 3932902 w 4151670"/>
              <a:gd name="connsiteY10" fmla="*/ 3338052 h 3780503"/>
              <a:gd name="connsiteX11" fmla="*/ 2723535 w 4151670"/>
              <a:gd name="connsiteY11" fmla="*/ 3633019 h 3780503"/>
              <a:gd name="connsiteX12" fmla="*/ 1720644 w 4151670"/>
              <a:gd name="connsiteY12" fmla="*/ 2453148 h 3780503"/>
              <a:gd name="connsiteX13" fmla="*/ 245806 w 4151670"/>
              <a:gd name="connsiteY13" fmla="*/ 948813 h 3780503"/>
              <a:gd name="connsiteX14" fmla="*/ 245806 w 4151670"/>
              <a:gd name="connsiteY14" fmla="*/ 299884 h 3780503"/>
              <a:gd name="connsiteX15" fmla="*/ 260554 w 4151670"/>
              <a:gd name="connsiteY15" fmla="*/ 270387 h 3780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151670" h="3780503">
                <a:moveTo>
                  <a:pt x="201561" y="388374"/>
                </a:moveTo>
                <a:cubicBezTo>
                  <a:pt x="255638" y="272845"/>
                  <a:pt x="309716" y="157316"/>
                  <a:pt x="437535" y="108155"/>
                </a:cubicBezTo>
                <a:cubicBezTo>
                  <a:pt x="565354" y="58994"/>
                  <a:pt x="818535" y="0"/>
                  <a:pt x="968477" y="93406"/>
                </a:cubicBezTo>
                <a:cubicBezTo>
                  <a:pt x="1118419" y="186812"/>
                  <a:pt x="1241322" y="435077"/>
                  <a:pt x="1337186" y="668593"/>
                </a:cubicBezTo>
                <a:cubicBezTo>
                  <a:pt x="1433050" y="902109"/>
                  <a:pt x="1371600" y="1292942"/>
                  <a:pt x="1543664" y="1494503"/>
                </a:cubicBezTo>
                <a:cubicBezTo>
                  <a:pt x="1715728" y="1696064"/>
                  <a:pt x="2111476" y="1858297"/>
                  <a:pt x="2369573" y="1877961"/>
                </a:cubicBezTo>
                <a:cubicBezTo>
                  <a:pt x="2627670" y="1897625"/>
                  <a:pt x="2920179" y="1686232"/>
                  <a:pt x="3092244" y="1612490"/>
                </a:cubicBezTo>
                <a:cubicBezTo>
                  <a:pt x="3264309" y="1538748"/>
                  <a:pt x="3276600" y="1452716"/>
                  <a:pt x="3401961" y="1435510"/>
                </a:cubicBezTo>
                <a:cubicBezTo>
                  <a:pt x="3527322" y="1418304"/>
                  <a:pt x="3738716" y="1408472"/>
                  <a:pt x="3844412" y="1509252"/>
                </a:cubicBezTo>
                <a:cubicBezTo>
                  <a:pt x="3950108" y="1610032"/>
                  <a:pt x="4021393" y="1735393"/>
                  <a:pt x="4036141" y="2040193"/>
                </a:cubicBezTo>
                <a:cubicBezTo>
                  <a:pt x="4050889" y="2344993"/>
                  <a:pt x="4151670" y="3072581"/>
                  <a:pt x="3932902" y="3338052"/>
                </a:cubicBezTo>
                <a:cubicBezTo>
                  <a:pt x="3714134" y="3603523"/>
                  <a:pt x="3092245" y="3780503"/>
                  <a:pt x="2723535" y="3633019"/>
                </a:cubicBezTo>
                <a:cubicBezTo>
                  <a:pt x="2354825" y="3485535"/>
                  <a:pt x="2133599" y="2900516"/>
                  <a:pt x="1720644" y="2453148"/>
                </a:cubicBezTo>
                <a:cubicBezTo>
                  <a:pt x="1307689" y="2005780"/>
                  <a:pt x="491612" y="1307690"/>
                  <a:pt x="245806" y="948813"/>
                </a:cubicBezTo>
                <a:cubicBezTo>
                  <a:pt x="0" y="589936"/>
                  <a:pt x="243348" y="412955"/>
                  <a:pt x="245806" y="299884"/>
                </a:cubicBezTo>
                <a:cubicBezTo>
                  <a:pt x="248264" y="186813"/>
                  <a:pt x="254409" y="228600"/>
                  <a:pt x="260554" y="270387"/>
                </a:cubicBez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200" i="1">
              <a:solidFill>
                <a:srgbClr val="333399"/>
              </a:solidFill>
            </a:endParaRPr>
          </a:p>
        </p:txBody>
      </p:sp>
      <p:graphicFrame>
        <p:nvGraphicFramePr>
          <p:cNvPr id="2" name="Object 429"/>
          <p:cNvGraphicFramePr>
            <a:graphicFrameLocks noChangeAspect="1"/>
          </p:cNvGraphicFramePr>
          <p:nvPr>
            <p:custDataLst>
              <p:tags r:id="rId1"/>
            </p:custDataLst>
            <p:extLst/>
          </p:nvPr>
        </p:nvGraphicFramePr>
        <p:xfrm>
          <a:off x="1472439" y="2642900"/>
          <a:ext cx="3400883" cy="2417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33" name="Rectangle 432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2778837" y="5360234"/>
            <a:ext cx="73183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defRPr sz="1600" i="1">
                <a:solidFill>
                  <a:srgbClr val="333399"/>
                </a:solidFill>
                <a:latin typeface="+mn-lt"/>
                <a:ea typeface="+mn-ea"/>
                <a:cs typeface="+mn-cs"/>
              </a:defRPr>
            </a:lvl1pPr>
            <a:lvl2pPr marL="304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Wingdings" pitchFamily="2" charset="2"/>
              <a:buChar char="l"/>
              <a:defRPr sz="1600">
                <a:solidFill>
                  <a:srgbClr val="333399"/>
                </a:solidFill>
                <a:latin typeface="+mn-lt"/>
                <a:cs typeface="+mn-cs"/>
              </a:defRPr>
            </a:lvl2pPr>
            <a:lvl3pPr marL="609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333399"/>
                </a:solidFill>
                <a:latin typeface="+mn-lt"/>
                <a:cs typeface="+mn-cs"/>
              </a:defRPr>
            </a:lvl3pPr>
            <a:lvl4pPr marL="914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55000"/>
              <a:buFont typeface="Wingdings" pitchFamily="2" charset="2"/>
              <a:buChar char="¡"/>
              <a:defRPr sz="1400">
                <a:solidFill>
                  <a:srgbClr val="333399"/>
                </a:solidFill>
                <a:latin typeface="+mn-lt"/>
                <a:cs typeface="+mn-cs"/>
              </a:defRPr>
            </a:lvl4pPr>
            <a:lvl5pPr marL="12192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5pPr>
            <a:lvl6pPr marL="1676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6pPr>
            <a:lvl7pPr marL="2133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7pPr>
            <a:lvl8pPr marL="2590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8pPr>
            <a:lvl9pPr marL="30480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  <a:buClr>
                <a:srgbClr val="000000"/>
              </a:buClr>
            </a:pPr>
            <a:r>
              <a:rPr lang="en-US" sz="1000" i="0" dirty="0" smtClean="0">
                <a:latin typeface="Arial"/>
                <a:sym typeface="Arial"/>
              </a:rPr>
              <a:t>Ability to win (propensity to buy)</a:t>
            </a:r>
          </a:p>
        </p:txBody>
      </p:sp>
      <p:sp>
        <p:nvSpPr>
          <p:cNvPr id="446" name="Oval 445"/>
          <p:cNvSpPr/>
          <p:nvPr>
            <p:custDataLst>
              <p:tags r:id="rId3"/>
            </p:custDataLst>
          </p:nvPr>
        </p:nvSpPr>
        <p:spPr bwMode="gray">
          <a:xfrm>
            <a:off x="1300990" y="6036850"/>
            <a:ext cx="120650" cy="120650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200" i="1">
              <a:solidFill>
                <a:srgbClr val="333399"/>
              </a:solidFill>
            </a:endParaRPr>
          </a:p>
        </p:txBody>
      </p:sp>
      <p:sp>
        <p:nvSpPr>
          <p:cNvPr id="447" name="Oval 446"/>
          <p:cNvSpPr/>
          <p:nvPr>
            <p:custDataLst>
              <p:tags r:id="rId4"/>
            </p:custDataLst>
          </p:nvPr>
        </p:nvSpPr>
        <p:spPr bwMode="gray">
          <a:xfrm>
            <a:off x="1300990" y="5849525"/>
            <a:ext cx="120650" cy="120650"/>
          </a:xfrm>
          <a:prstGeom prst="ellipse">
            <a:avLst/>
          </a:prstGeom>
          <a:solidFill>
            <a:srgbClr val="6DBFCD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200" i="1">
              <a:solidFill>
                <a:srgbClr val="333399"/>
              </a:solidFill>
            </a:endParaRPr>
          </a:p>
        </p:txBody>
      </p:sp>
      <p:sp>
        <p:nvSpPr>
          <p:cNvPr id="448" name="Oval 447"/>
          <p:cNvSpPr/>
          <p:nvPr>
            <p:custDataLst>
              <p:tags r:id="rId5"/>
            </p:custDataLst>
          </p:nvPr>
        </p:nvSpPr>
        <p:spPr bwMode="gray">
          <a:xfrm>
            <a:off x="1300990" y="5662200"/>
            <a:ext cx="120650" cy="120650"/>
          </a:xfrm>
          <a:prstGeom prst="ellipse">
            <a:avLst/>
          </a:prstGeom>
          <a:solidFill>
            <a:srgbClr val="E9DD0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200" i="1">
              <a:solidFill>
                <a:srgbClr val="333399"/>
              </a:solidFill>
            </a:endParaRPr>
          </a:p>
        </p:txBody>
      </p:sp>
      <p:sp>
        <p:nvSpPr>
          <p:cNvPr id="449" name="Rectangle 44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91490" y="6033675"/>
            <a:ext cx="3238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defRPr sz="1600" i="1">
                <a:solidFill>
                  <a:srgbClr val="333399"/>
                </a:solidFill>
                <a:latin typeface="+mn-lt"/>
                <a:ea typeface="+mn-ea"/>
                <a:cs typeface="+mn-cs"/>
              </a:defRPr>
            </a:lvl1pPr>
            <a:lvl2pPr marL="304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Wingdings" pitchFamily="2" charset="2"/>
              <a:buChar char="l"/>
              <a:defRPr sz="1600">
                <a:solidFill>
                  <a:srgbClr val="333399"/>
                </a:solidFill>
                <a:latin typeface="+mn-lt"/>
                <a:cs typeface="+mn-cs"/>
              </a:defRPr>
            </a:lvl2pPr>
            <a:lvl3pPr marL="609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333399"/>
                </a:solidFill>
                <a:latin typeface="+mn-lt"/>
                <a:cs typeface="+mn-cs"/>
              </a:defRPr>
            </a:lvl3pPr>
            <a:lvl4pPr marL="914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55000"/>
              <a:buFont typeface="Wingdings" pitchFamily="2" charset="2"/>
              <a:buChar char="¡"/>
              <a:defRPr sz="1400">
                <a:solidFill>
                  <a:srgbClr val="333399"/>
                </a:solidFill>
                <a:latin typeface="+mn-lt"/>
                <a:cs typeface="+mn-cs"/>
              </a:defRPr>
            </a:lvl4pPr>
            <a:lvl5pPr marL="12192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5pPr>
            <a:lvl6pPr marL="1676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6pPr>
            <a:lvl7pPr marL="2133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7pPr>
            <a:lvl8pPr marL="2590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8pPr>
            <a:lvl9pPr marL="30480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0000"/>
              </a:buClr>
            </a:pPr>
            <a:fld id="{F8AC6154-0011-490B-95D3-997CED8268EC}" type="datetime'''''''''''''''''''''''''''''''''''Ig''n''''''o''''''''r''''e'">
              <a:rPr lang="en-US" sz="900" i="0" smtClean="0">
                <a:sym typeface="Arial"/>
              </a:rPr>
              <a:pPr>
                <a:spcBef>
                  <a:spcPct val="0"/>
                </a:spcBef>
                <a:buClr>
                  <a:srgbClr val="000000"/>
                </a:buClr>
              </a:pPr>
              <a:t>Ignore</a:t>
            </a:fld>
            <a:endParaRPr lang="en-US" sz="900" i="0" smtClean="0">
              <a:sym typeface="Arial"/>
            </a:endParaRPr>
          </a:p>
        </p:txBody>
      </p:sp>
      <p:sp>
        <p:nvSpPr>
          <p:cNvPr id="450" name="Rectangle 44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491490" y="5846350"/>
            <a:ext cx="952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defRPr sz="1600" i="1">
                <a:solidFill>
                  <a:srgbClr val="333399"/>
                </a:solidFill>
                <a:latin typeface="+mn-lt"/>
                <a:ea typeface="+mn-ea"/>
                <a:cs typeface="+mn-cs"/>
              </a:defRPr>
            </a:lvl1pPr>
            <a:lvl2pPr marL="304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Wingdings" pitchFamily="2" charset="2"/>
              <a:buChar char="l"/>
              <a:defRPr sz="1600">
                <a:solidFill>
                  <a:srgbClr val="333399"/>
                </a:solidFill>
                <a:latin typeface="+mn-lt"/>
                <a:cs typeface="+mn-cs"/>
              </a:defRPr>
            </a:lvl2pPr>
            <a:lvl3pPr marL="609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333399"/>
                </a:solidFill>
                <a:latin typeface="+mn-lt"/>
                <a:cs typeface="+mn-cs"/>
              </a:defRPr>
            </a:lvl3pPr>
            <a:lvl4pPr marL="914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55000"/>
              <a:buFont typeface="Wingdings" pitchFamily="2" charset="2"/>
              <a:buChar char="¡"/>
              <a:defRPr sz="1400">
                <a:solidFill>
                  <a:srgbClr val="333399"/>
                </a:solidFill>
                <a:latin typeface="+mn-lt"/>
                <a:cs typeface="+mn-cs"/>
              </a:defRPr>
            </a:lvl4pPr>
            <a:lvl5pPr marL="12192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5pPr>
            <a:lvl6pPr marL="1676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6pPr>
            <a:lvl7pPr marL="2133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7pPr>
            <a:lvl8pPr marL="2590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8pPr>
            <a:lvl9pPr marL="30480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0000"/>
              </a:buClr>
            </a:pPr>
            <a:fld id="{6BB8BE78-1C7D-4D30-8F8F-FFBF72A262B8}" type="datetime'''''G''r''''''''''ow'''''' Agg''''r''''essi''v''e''ly'''''">
              <a:rPr lang="en-US" sz="900" i="0" smtClean="0">
                <a:sym typeface="Arial"/>
              </a:rPr>
              <a:pPr>
                <a:spcBef>
                  <a:spcPct val="0"/>
                </a:spcBef>
                <a:buClr>
                  <a:srgbClr val="000000"/>
                </a:buClr>
              </a:pPr>
              <a:t>Grow Aggressively</a:t>
            </a:fld>
            <a:endParaRPr lang="en-US" sz="900" i="0" smtClean="0">
              <a:sym typeface="Arial"/>
            </a:endParaRPr>
          </a:p>
        </p:txBody>
      </p:sp>
      <p:sp>
        <p:nvSpPr>
          <p:cNvPr id="451" name="Rectangle 45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91490" y="5659025"/>
            <a:ext cx="7493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defRPr sz="1600" i="1">
                <a:solidFill>
                  <a:srgbClr val="333399"/>
                </a:solidFill>
                <a:latin typeface="+mn-lt"/>
                <a:ea typeface="+mn-ea"/>
                <a:cs typeface="+mn-cs"/>
              </a:defRPr>
            </a:lvl1pPr>
            <a:lvl2pPr marL="304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Wingdings" pitchFamily="2" charset="2"/>
              <a:buChar char="l"/>
              <a:defRPr sz="1600">
                <a:solidFill>
                  <a:srgbClr val="333399"/>
                </a:solidFill>
                <a:latin typeface="+mn-lt"/>
                <a:cs typeface="+mn-cs"/>
              </a:defRPr>
            </a:lvl2pPr>
            <a:lvl3pPr marL="609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333399"/>
                </a:solidFill>
                <a:latin typeface="+mn-lt"/>
                <a:cs typeface="+mn-cs"/>
              </a:defRPr>
            </a:lvl3pPr>
            <a:lvl4pPr marL="914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55000"/>
              <a:buFont typeface="Wingdings" pitchFamily="2" charset="2"/>
              <a:buChar char="¡"/>
              <a:defRPr sz="1400">
                <a:solidFill>
                  <a:srgbClr val="333399"/>
                </a:solidFill>
                <a:latin typeface="+mn-lt"/>
                <a:cs typeface="+mn-cs"/>
              </a:defRPr>
            </a:lvl4pPr>
            <a:lvl5pPr marL="12192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5pPr>
            <a:lvl6pPr marL="1676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6pPr>
            <a:lvl7pPr marL="2133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7pPr>
            <a:lvl8pPr marL="2590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8pPr>
            <a:lvl9pPr marL="30480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0000"/>
              </a:buClr>
            </a:pPr>
            <a:fld id="{DCEA1E21-7347-420F-8CE0-82D23524EB29}" type="datetime'''Ma''i''nt''a''i''n ''''''''''''''''s''''''ha''r''''e'''''">
              <a:rPr lang="en-US" sz="900" i="0" smtClean="0">
                <a:sym typeface="Arial"/>
              </a:rPr>
              <a:pPr>
                <a:spcBef>
                  <a:spcPct val="0"/>
                </a:spcBef>
                <a:buClr>
                  <a:srgbClr val="000000"/>
                </a:buClr>
              </a:pPr>
              <a:t>Maintain share</a:t>
            </a:fld>
            <a:endParaRPr lang="en-US" sz="900" i="0" smtClean="0">
              <a:sym typeface="Arial"/>
            </a:endParaRPr>
          </a:p>
        </p:txBody>
      </p:sp>
      <p:sp>
        <p:nvSpPr>
          <p:cNvPr id="453" name="Rectangle 45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 rot="16200000">
            <a:off x="1033942" y="3903576"/>
            <a:ext cx="73183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defRPr sz="1600" i="1">
                <a:solidFill>
                  <a:srgbClr val="333399"/>
                </a:solidFill>
                <a:latin typeface="+mn-lt"/>
                <a:ea typeface="+mn-ea"/>
                <a:cs typeface="+mn-cs"/>
              </a:defRPr>
            </a:lvl1pPr>
            <a:lvl2pPr marL="304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65000"/>
              <a:buFont typeface="Wingdings" pitchFamily="2" charset="2"/>
              <a:buChar char="l"/>
              <a:defRPr sz="1600">
                <a:solidFill>
                  <a:srgbClr val="333399"/>
                </a:solidFill>
                <a:latin typeface="+mn-lt"/>
                <a:cs typeface="+mn-cs"/>
              </a:defRPr>
            </a:lvl2pPr>
            <a:lvl3pPr marL="609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333399"/>
                </a:solidFill>
                <a:latin typeface="+mn-lt"/>
                <a:cs typeface="+mn-cs"/>
              </a:defRPr>
            </a:lvl3pPr>
            <a:lvl4pPr marL="914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55000"/>
              <a:buFont typeface="Wingdings" pitchFamily="2" charset="2"/>
              <a:buChar char="¡"/>
              <a:defRPr sz="1400">
                <a:solidFill>
                  <a:srgbClr val="333399"/>
                </a:solidFill>
                <a:latin typeface="+mn-lt"/>
                <a:cs typeface="+mn-cs"/>
              </a:defRPr>
            </a:lvl4pPr>
            <a:lvl5pPr marL="12192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5pPr>
            <a:lvl6pPr marL="16764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6pPr>
            <a:lvl7pPr marL="21336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7pPr>
            <a:lvl8pPr marL="25908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8pPr>
            <a:lvl9pPr marL="3048000" indent="-203200" algn="l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333399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  <a:buClr>
                <a:srgbClr val="000000"/>
              </a:buClr>
            </a:pPr>
            <a:r>
              <a:rPr lang="en-US" sz="1000" i="0" dirty="0" smtClean="0">
                <a:latin typeface="Arial"/>
                <a:sym typeface="Arial"/>
              </a:rPr>
              <a:t>Est. average deal size</a:t>
            </a:r>
          </a:p>
        </p:txBody>
      </p:sp>
      <p:sp>
        <p:nvSpPr>
          <p:cNvPr id="45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65469" y="2342282"/>
            <a:ext cx="3596208" cy="295232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Total addressable market by trade territor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pic>
        <p:nvPicPr>
          <p:cNvPr id="5127" name="Picture 7" descr="Image result for vietnam heat map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93296" y="2591356"/>
            <a:ext cx="2120189" cy="267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736059" y="1149896"/>
            <a:ext cx="1409642" cy="36540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5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799894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6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44" name="Group 543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45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6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7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8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9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0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1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2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3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633" name="Group 632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63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35" name="Group 634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636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49" name="Group 648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65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51" name="Group 650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652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59" name="Group 658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66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61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662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5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6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7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8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9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0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1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2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3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4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5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6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7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8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9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0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1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2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3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4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5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6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7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8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9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0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1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2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3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4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5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6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7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8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9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0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1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2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3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4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5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6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7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8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9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0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1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2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3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4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5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6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7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8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9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0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1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2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3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4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5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6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7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8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9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0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1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2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3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4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5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6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7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8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9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96" name="Rounded Rectangle 19"/>
          <p:cNvSpPr/>
          <p:nvPr/>
        </p:nvSpPr>
        <p:spPr bwMode="auto">
          <a:xfrm>
            <a:off x="5173216" y="4052932"/>
            <a:ext cx="3600400" cy="69318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0" anchor="ctr"/>
          <a:lstStyle/>
          <a:p>
            <a:pPr algn="ctr">
              <a:spcBef>
                <a:spcPct val="50000"/>
              </a:spcBef>
              <a:defRPr/>
            </a:pPr>
            <a:r>
              <a:rPr kumimoji="1" lang="en-US" sz="900" b="1" dirty="0">
                <a:solidFill>
                  <a:schemeClr val="accent5"/>
                </a:solidFill>
              </a:rPr>
              <a:t>Value Proposition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sz="700" dirty="0">
                <a:latin typeface="+mn-lt"/>
              </a:rPr>
              <a:t>Services lever: requirement for technical </a:t>
            </a:r>
            <a:r>
              <a:rPr lang="en-US" sz="700" dirty="0" smtClean="0">
                <a:latin typeface="+mn-lt"/>
              </a:rPr>
              <a:t>support.</a:t>
            </a:r>
            <a:endParaRPr lang="en-US" sz="700" dirty="0">
              <a:latin typeface="+mn-lt"/>
            </a:endParaRP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sz="700" dirty="0">
                <a:latin typeface="+mn-lt"/>
              </a:rPr>
              <a:t>Trade marketing lever: </a:t>
            </a:r>
            <a:r>
              <a:rPr lang="en-US" sz="700" dirty="0" smtClean="0">
                <a:latin typeface="+mn-lt"/>
              </a:rPr>
              <a:t>promotions, </a:t>
            </a:r>
            <a:r>
              <a:rPr lang="en-US" sz="700" dirty="0">
                <a:latin typeface="+mn-lt"/>
              </a:rPr>
              <a:t>etc.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sz="700" dirty="0">
                <a:latin typeface="+mn-lt"/>
              </a:rPr>
              <a:t>Financial lever: credit terms, </a:t>
            </a:r>
            <a:r>
              <a:rPr lang="en-US" sz="700" dirty="0" smtClean="0">
                <a:latin typeface="+mn-lt"/>
              </a:rPr>
              <a:t>rebate</a:t>
            </a:r>
            <a:endParaRPr lang="en-US" sz="700" dirty="0">
              <a:latin typeface="+mn-lt"/>
            </a:endParaRPr>
          </a:p>
        </p:txBody>
      </p:sp>
      <p:sp>
        <p:nvSpPr>
          <p:cNvPr id="298" name="Rectangle 297"/>
          <p:cNvSpPr/>
          <p:nvPr/>
        </p:nvSpPr>
        <p:spPr>
          <a:xfrm>
            <a:off x="3660934" y="2302024"/>
            <a:ext cx="1202968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9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63552" y="2302024"/>
            <a:ext cx="3596208" cy="151216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 smtClean="0">
                <a:solidFill>
                  <a:schemeClr val="accent5"/>
                </a:solidFill>
              </a:rPr>
              <a:t>Segment 1 - Name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cxnSp>
        <p:nvCxnSpPr>
          <p:cNvPr id="300" name="Straight Connector 299"/>
          <p:cNvCxnSpPr/>
          <p:nvPr/>
        </p:nvCxnSpPr>
        <p:spPr>
          <a:xfrm>
            <a:off x="3850582" y="2996704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33481" y="2478312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b="1" dirty="0" smtClean="0">
                <a:solidFill>
                  <a:schemeClr val="accent5"/>
                </a:solidFill>
              </a:rPr>
              <a:t>Signal</a:t>
            </a:r>
          </a:p>
        </p:txBody>
      </p:sp>
      <p:cxnSp>
        <p:nvCxnSpPr>
          <p:cNvPr id="302" name="Straight Connector 301"/>
          <p:cNvCxnSpPr/>
          <p:nvPr/>
        </p:nvCxnSpPr>
        <p:spPr>
          <a:xfrm>
            <a:off x="3850582" y="3212728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/>
          <p:cNvCxnSpPr/>
          <p:nvPr/>
        </p:nvCxnSpPr>
        <p:spPr>
          <a:xfrm>
            <a:off x="3850582" y="3428752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/>
          <p:nvPr/>
        </p:nvCxnSpPr>
        <p:spPr>
          <a:xfrm>
            <a:off x="3850582" y="3644776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909918" y="2863385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OEM</a:t>
            </a:r>
          </a:p>
        </p:txBody>
      </p:sp>
      <p:sp>
        <p:nvSpPr>
          <p:cNvPr id="30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909918" y="3079408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. 50-100mil</a:t>
            </a:r>
          </a:p>
        </p:txBody>
      </p:sp>
      <p:sp>
        <p:nvSpPr>
          <p:cNvPr id="30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778582" y="3288546"/>
            <a:ext cx="1056243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err="1" smtClean="0">
                <a:solidFill>
                  <a:schemeClr val="accent5"/>
                </a:solidFill>
              </a:rPr>
              <a:t>Empl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counts 100-500</a:t>
            </a:r>
          </a:p>
        </p:txBody>
      </p:sp>
      <p:sp>
        <p:nvSpPr>
          <p:cNvPr id="30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909918" y="3494658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</a:p>
        </p:txBody>
      </p:sp>
      <p:cxnSp>
        <p:nvCxnSpPr>
          <p:cNvPr id="309" name="Straight Connector 308"/>
          <p:cNvCxnSpPr/>
          <p:nvPr/>
        </p:nvCxnSpPr>
        <p:spPr>
          <a:xfrm>
            <a:off x="3850582" y="2662064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92498" y="2519104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 smtClean="0">
                <a:solidFill>
                  <a:schemeClr val="accent5"/>
                </a:solidFill>
              </a:rPr>
              <a:t>435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Addressable market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sp>
        <p:nvSpPr>
          <p:cNvPr id="3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478576" y="2519104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 smtClean="0">
                <a:solidFill>
                  <a:schemeClr val="accent5"/>
                </a:solidFill>
              </a:rPr>
              <a:t>95%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Success rate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graphicFrame>
        <p:nvGraphicFramePr>
          <p:cNvPr id="312" name="Chart 311"/>
          <p:cNvGraphicFramePr/>
          <p:nvPr>
            <p:extLst/>
          </p:nvPr>
        </p:nvGraphicFramePr>
        <p:xfrm>
          <a:off x="1271157" y="2834192"/>
          <a:ext cx="2156048" cy="948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3" name="Rounded Rectangle 19"/>
          <p:cNvSpPr/>
          <p:nvPr/>
        </p:nvSpPr>
        <p:spPr bwMode="auto">
          <a:xfrm>
            <a:off x="1263502" y="4052932"/>
            <a:ext cx="3600400" cy="69318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0" anchor="ctr"/>
          <a:lstStyle/>
          <a:p>
            <a:pPr algn="ctr">
              <a:spcBef>
                <a:spcPct val="50000"/>
              </a:spcBef>
              <a:defRPr/>
            </a:pPr>
            <a:r>
              <a:rPr kumimoji="1" lang="en-US" altLang="ja-JP" sz="900" b="1" dirty="0" smtClean="0">
                <a:solidFill>
                  <a:schemeClr val="accent5"/>
                </a:solidFill>
              </a:rPr>
              <a:t>Value proposition</a:t>
            </a:r>
            <a:endParaRPr lang="en-US" sz="900" b="1" dirty="0"/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sz="700" dirty="0">
                <a:latin typeface="+mn-lt"/>
              </a:rPr>
              <a:t>Services lever: requirement for technical support, warranty, visit, trainings, etc.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sz="700" dirty="0">
                <a:latin typeface="+mn-lt"/>
              </a:rPr>
              <a:t>Trade marketing lever: promotions, loyalty programs, etc.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sz="700" dirty="0">
                <a:latin typeface="+mn-lt"/>
              </a:rPr>
              <a:t>Financial lever: credit terms, </a:t>
            </a:r>
            <a:r>
              <a:rPr lang="en-US" sz="700" dirty="0" smtClean="0">
                <a:latin typeface="+mn-lt"/>
              </a:rPr>
              <a:t>rebate</a:t>
            </a:r>
            <a:endParaRPr lang="en-US" sz="700" dirty="0">
              <a:latin typeface="+mn-lt"/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7570648" y="2302024"/>
            <a:ext cx="1202968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1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66" y="2302024"/>
            <a:ext cx="3596208" cy="1512168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 smtClean="0">
                <a:solidFill>
                  <a:schemeClr val="accent5"/>
                </a:solidFill>
              </a:rPr>
              <a:t>Segment 2 - Name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cxnSp>
        <p:nvCxnSpPr>
          <p:cNvPr id="317" name="Straight Connector 316"/>
          <p:cNvCxnSpPr/>
          <p:nvPr/>
        </p:nvCxnSpPr>
        <p:spPr>
          <a:xfrm>
            <a:off x="7760296" y="2996704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43195" y="2478312"/>
            <a:ext cx="1546445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b="1" dirty="0" smtClean="0">
                <a:solidFill>
                  <a:schemeClr val="accent5"/>
                </a:solidFill>
              </a:rPr>
              <a:t>Signal</a:t>
            </a:r>
          </a:p>
        </p:txBody>
      </p:sp>
      <p:cxnSp>
        <p:nvCxnSpPr>
          <p:cNvPr id="319" name="Straight Connector 318"/>
          <p:cNvCxnSpPr/>
          <p:nvPr/>
        </p:nvCxnSpPr>
        <p:spPr>
          <a:xfrm>
            <a:off x="7760296" y="3212728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/>
          <p:nvPr/>
        </p:nvCxnSpPr>
        <p:spPr>
          <a:xfrm>
            <a:off x="7760296" y="3428752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/>
          <p:cNvCxnSpPr/>
          <p:nvPr/>
        </p:nvCxnSpPr>
        <p:spPr>
          <a:xfrm>
            <a:off x="7760296" y="3644776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2863385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OEM</a:t>
            </a:r>
          </a:p>
        </p:txBody>
      </p:sp>
      <p:sp>
        <p:nvSpPr>
          <p:cNvPr id="3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3079408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. 50-100mil</a:t>
            </a:r>
          </a:p>
        </p:txBody>
      </p:sp>
      <p:sp>
        <p:nvSpPr>
          <p:cNvPr id="3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688296" y="3288546"/>
            <a:ext cx="1056243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err="1" smtClean="0">
                <a:solidFill>
                  <a:schemeClr val="accent5"/>
                </a:solidFill>
              </a:rPr>
              <a:t>Empl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counts 100-500</a:t>
            </a:r>
          </a:p>
        </p:txBody>
      </p:sp>
      <p:sp>
        <p:nvSpPr>
          <p:cNvPr id="3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19632" y="3494658"/>
            <a:ext cx="793571" cy="894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anoi</a:t>
            </a:r>
          </a:p>
        </p:txBody>
      </p:sp>
      <p:cxnSp>
        <p:nvCxnSpPr>
          <p:cNvPr id="328" name="Straight Connector 327"/>
          <p:cNvCxnSpPr/>
          <p:nvPr/>
        </p:nvCxnSpPr>
        <p:spPr>
          <a:xfrm>
            <a:off x="7760296" y="2662064"/>
            <a:ext cx="91224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02212" y="2519104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 smtClean="0">
                <a:solidFill>
                  <a:schemeClr val="accent5"/>
                </a:solidFill>
              </a:rPr>
              <a:t>2,435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Addressable market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sp>
        <p:nvSpPr>
          <p:cNvPr id="33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88290" y="2519104"/>
            <a:ext cx="1056243" cy="41194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800" b="1" dirty="0">
                <a:solidFill>
                  <a:schemeClr val="accent5"/>
                </a:solidFill>
              </a:rPr>
              <a:t>7</a:t>
            </a:r>
            <a:r>
              <a:rPr kumimoji="1" lang="en-US" altLang="ja-JP" sz="1800" b="1" dirty="0" smtClean="0">
                <a:solidFill>
                  <a:schemeClr val="accent5"/>
                </a:solidFill>
              </a:rPr>
              <a:t>5%</a:t>
            </a:r>
          </a:p>
          <a:p>
            <a:pPr algn="ctr"/>
            <a:r>
              <a:rPr kumimoji="1" lang="en-US" altLang="ja-JP" sz="700" dirty="0" smtClean="0">
                <a:solidFill>
                  <a:schemeClr val="accent5"/>
                </a:solidFill>
              </a:rPr>
              <a:t>Success rate</a:t>
            </a:r>
            <a:endParaRPr kumimoji="1" lang="en-US" altLang="ja-JP" sz="200" dirty="0">
              <a:solidFill>
                <a:schemeClr val="accent5"/>
              </a:solidFill>
            </a:endParaRPr>
          </a:p>
        </p:txBody>
      </p:sp>
      <p:graphicFrame>
        <p:nvGraphicFramePr>
          <p:cNvPr id="331" name="Chart 330"/>
          <p:cNvGraphicFramePr/>
          <p:nvPr>
            <p:extLst/>
          </p:nvPr>
        </p:nvGraphicFramePr>
        <p:xfrm>
          <a:off x="5180871" y="2834192"/>
          <a:ext cx="2156048" cy="948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Isosceles Triangle 2"/>
          <p:cNvSpPr/>
          <p:nvPr/>
        </p:nvSpPr>
        <p:spPr>
          <a:xfrm rot="10800000">
            <a:off x="1348326" y="3856686"/>
            <a:ext cx="3380184" cy="141074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43" name="Isosceles Triangle 342"/>
          <p:cNvSpPr/>
          <p:nvPr/>
        </p:nvSpPr>
        <p:spPr>
          <a:xfrm rot="10800000">
            <a:off x="5279051" y="3856686"/>
            <a:ext cx="3380184" cy="141074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46" name="Rounded Rectangle 19"/>
          <p:cNvSpPr/>
          <p:nvPr/>
        </p:nvSpPr>
        <p:spPr bwMode="auto">
          <a:xfrm>
            <a:off x="5173216" y="5006762"/>
            <a:ext cx="3600400" cy="69318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0" anchor="t"/>
          <a:lstStyle/>
          <a:p>
            <a:pPr algn="ctr">
              <a:spcBef>
                <a:spcPct val="50000"/>
              </a:spcBef>
              <a:defRPr/>
            </a:pPr>
            <a:r>
              <a:rPr kumimoji="1" lang="en-US" altLang="ja-JP" sz="900" b="1" dirty="0">
                <a:solidFill>
                  <a:schemeClr val="accent5"/>
                </a:solidFill>
              </a:rPr>
              <a:t>Deployment </a:t>
            </a:r>
            <a:r>
              <a:rPr kumimoji="1" lang="en-US" altLang="ja-JP" sz="900" b="1" dirty="0" smtClean="0">
                <a:solidFill>
                  <a:schemeClr val="accent5"/>
                </a:solidFill>
              </a:rPr>
              <a:t>programs</a:t>
            </a:r>
            <a:endParaRPr lang="en-US" sz="900" b="1" dirty="0"/>
          </a:p>
        </p:txBody>
      </p:sp>
      <p:sp>
        <p:nvSpPr>
          <p:cNvPr id="352" name="Rounded Rectangle 19"/>
          <p:cNvSpPr/>
          <p:nvPr/>
        </p:nvSpPr>
        <p:spPr bwMode="auto">
          <a:xfrm>
            <a:off x="1263502" y="5006762"/>
            <a:ext cx="3600400" cy="69318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0" anchor="t"/>
          <a:lstStyle/>
          <a:p>
            <a:pPr algn="ctr">
              <a:spcBef>
                <a:spcPct val="50000"/>
              </a:spcBef>
              <a:defRPr/>
            </a:pPr>
            <a:r>
              <a:rPr kumimoji="1" lang="en-US" altLang="ja-JP" sz="900" b="1" dirty="0" smtClean="0">
                <a:solidFill>
                  <a:schemeClr val="accent5"/>
                </a:solidFill>
              </a:rPr>
              <a:t>Deployment programs</a:t>
            </a:r>
            <a:endParaRPr lang="en-US" sz="9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1305992" y="5267879"/>
            <a:ext cx="3499189" cy="355056"/>
            <a:chOff x="1305992" y="5248629"/>
            <a:chExt cx="3499189" cy="355056"/>
          </a:xfrm>
        </p:grpSpPr>
        <p:cxnSp>
          <p:nvCxnSpPr>
            <p:cNvPr id="357" name="Straight Connector 356"/>
            <p:cNvCxnSpPr/>
            <p:nvPr/>
          </p:nvCxnSpPr>
          <p:spPr>
            <a:xfrm>
              <a:off x="1305992" y="542288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594452" y="5248629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Key Account Program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61" name="Rounded Rectangle 360"/>
            <p:cNvSpPr/>
            <p:nvPr/>
          </p:nvSpPr>
          <p:spPr>
            <a:xfrm rot="10800000">
              <a:off x="1319179" y="5248660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  <p:sp>
          <p:nvSpPr>
            <p:cNvPr id="363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594452" y="5452396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New Accounts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64" name="Rounded Rectangle 363"/>
            <p:cNvSpPr/>
            <p:nvPr/>
          </p:nvSpPr>
          <p:spPr>
            <a:xfrm rot="10800000">
              <a:off x="1319179" y="5452427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  <p:cxnSp>
          <p:nvCxnSpPr>
            <p:cNvPr id="369" name="Straight Connector 368"/>
            <p:cNvCxnSpPr/>
            <p:nvPr/>
          </p:nvCxnSpPr>
          <p:spPr>
            <a:xfrm>
              <a:off x="3189089" y="542288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0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477549" y="5248629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Accelerate Program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71" name="Rounded Rectangle 370"/>
            <p:cNvSpPr/>
            <p:nvPr/>
          </p:nvSpPr>
          <p:spPr>
            <a:xfrm rot="10800000">
              <a:off x="3202276" y="5248660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  <p:sp>
          <p:nvSpPr>
            <p:cNvPr id="373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477549" y="5452396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Other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74" name="Rounded Rectangle 373"/>
            <p:cNvSpPr/>
            <p:nvPr/>
          </p:nvSpPr>
          <p:spPr>
            <a:xfrm rot="10800000">
              <a:off x="3202276" y="5452427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</p:grpSp>
      <p:grpSp>
        <p:nvGrpSpPr>
          <p:cNvPr id="379" name="Group 378"/>
          <p:cNvGrpSpPr/>
          <p:nvPr/>
        </p:nvGrpSpPr>
        <p:grpSpPr>
          <a:xfrm>
            <a:off x="5219548" y="5267879"/>
            <a:ext cx="3499189" cy="355056"/>
            <a:chOff x="1305992" y="5248629"/>
            <a:chExt cx="3499189" cy="355056"/>
          </a:xfrm>
        </p:grpSpPr>
        <p:cxnSp>
          <p:nvCxnSpPr>
            <p:cNvPr id="380" name="Straight Connector 379"/>
            <p:cNvCxnSpPr/>
            <p:nvPr/>
          </p:nvCxnSpPr>
          <p:spPr>
            <a:xfrm>
              <a:off x="1305992" y="542288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1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594452" y="5248629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Key Account Program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82" name="Rounded Rectangle 381"/>
            <p:cNvSpPr/>
            <p:nvPr/>
          </p:nvSpPr>
          <p:spPr>
            <a:xfrm rot="10800000">
              <a:off x="1319179" y="5248660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  <p:sp>
          <p:nvSpPr>
            <p:cNvPr id="383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594452" y="5452396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New Accounts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84" name="Rounded Rectangle 383"/>
            <p:cNvSpPr/>
            <p:nvPr/>
          </p:nvSpPr>
          <p:spPr>
            <a:xfrm rot="10800000">
              <a:off x="1319179" y="5452427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  <p:cxnSp>
          <p:nvCxnSpPr>
            <p:cNvPr id="385" name="Straight Connector 384"/>
            <p:cNvCxnSpPr/>
            <p:nvPr/>
          </p:nvCxnSpPr>
          <p:spPr>
            <a:xfrm>
              <a:off x="3189089" y="542288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6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477549" y="5248629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Accelerate Program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87" name="Rounded Rectangle 386"/>
            <p:cNvSpPr/>
            <p:nvPr/>
          </p:nvSpPr>
          <p:spPr>
            <a:xfrm rot="10800000">
              <a:off x="3202276" y="5248660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  <p:sp>
          <p:nvSpPr>
            <p:cNvPr id="388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477549" y="5452396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1000" dirty="0" smtClean="0">
                  <a:solidFill>
                    <a:schemeClr val="accent5"/>
                  </a:solidFill>
                </a:rPr>
                <a:t>Other</a:t>
              </a:r>
              <a:endParaRPr kumimoji="1" lang="en-US" altLang="ja-JP" sz="1000" dirty="0">
                <a:solidFill>
                  <a:schemeClr val="accent5"/>
                </a:solidFill>
              </a:endParaRPr>
            </a:p>
          </p:txBody>
        </p:sp>
        <p:sp>
          <p:nvSpPr>
            <p:cNvPr id="389" name="Rounded Rectangle 388"/>
            <p:cNvSpPr/>
            <p:nvPr/>
          </p:nvSpPr>
          <p:spPr>
            <a:xfrm rot="10800000">
              <a:off x="3202276" y="5452427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1050" dirty="0" smtClean="0"/>
            </a:p>
          </p:txBody>
        </p:sp>
      </p:grpSp>
      <p:sp>
        <p:nvSpPr>
          <p:cNvPr id="390" name="Isosceles Triangle 389"/>
          <p:cNvSpPr/>
          <p:nvPr/>
        </p:nvSpPr>
        <p:spPr>
          <a:xfrm rot="10800000">
            <a:off x="1348326" y="4793429"/>
            <a:ext cx="3380184" cy="141074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91" name="Isosceles Triangle 390"/>
          <p:cNvSpPr/>
          <p:nvPr/>
        </p:nvSpPr>
        <p:spPr>
          <a:xfrm rot="10800000">
            <a:off x="5279051" y="4793429"/>
            <a:ext cx="3380184" cy="141074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" name="Rectangle 1"/>
          <p:cNvSpPr/>
          <p:nvPr/>
        </p:nvSpPr>
        <p:spPr>
          <a:xfrm>
            <a:off x="3238609" y="1077888"/>
            <a:ext cx="2196032" cy="43741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4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073988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7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2. PERSON CRITERIA</a:t>
              </a: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1. COMPANY CRITERIA</a:t>
              </a: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21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2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2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-1882559" y="1785533"/>
            <a:ext cx="1871199" cy="2313653"/>
            <a:chOff x="-1882559" y="1785533"/>
            <a:chExt cx="1871199" cy="2313653"/>
          </a:xfrm>
        </p:grpSpPr>
        <p:sp>
          <p:nvSpPr>
            <p:cNvPr id="17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1785533"/>
              <a:ext cx="1871199" cy="287643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INPUT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7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2056636"/>
              <a:ext cx="1871199" cy="2042550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t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List of person attribu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Details break-down of each attributes</a:t>
              </a:r>
              <a:endParaRPr kumimoji="1" lang="en-US" altLang="ja-JP" sz="105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227" name="Rectangle 226"/>
          <p:cNvSpPr/>
          <p:nvPr/>
        </p:nvSpPr>
        <p:spPr>
          <a:xfrm>
            <a:off x="1265892" y="2338696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2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4033" y="2362225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Job Function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263" name="Straight Connector 262"/>
          <p:cNvCxnSpPr/>
          <p:nvPr/>
        </p:nvCxnSpPr>
        <p:spPr>
          <a:xfrm>
            <a:off x="1383468" y="276269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258844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65" name="Rounded Rectangle 264"/>
          <p:cNvSpPr/>
          <p:nvPr/>
        </p:nvSpPr>
        <p:spPr>
          <a:xfrm rot="10800000">
            <a:off x="1396655" y="258847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66" name="Straight Connector 265"/>
          <p:cNvCxnSpPr/>
          <p:nvPr/>
        </p:nvCxnSpPr>
        <p:spPr>
          <a:xfrm>
            <a:off x="1383468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279220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Top management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68" name="Rounded Rectangle 267"/>
          <p:cNvSpPr/>
          <p:nvPr/>
        </p:nvSpPr>
        <p:spPr>
          <a:xfrm rot="10800000">
            <a:off x="1396655" y="279223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69" name="Straight Connector 268"/>
          <p:cNvCxnSpPr/>
          <p:nvPr/>
        </p:nvCxnSpPr>
        <p:spPr>
          <a:xfrm>
            <a:off x="1383468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>
            <a:off x="1383468" y="3170227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2995974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Marketin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72" name="Rounded Rectangle 271"/>
          <p:cNvSpPr/>
          <p:nvPr/>
        </p:nvSpPr>
        <p:spPr>
          <a:xfrm rot="10800000">
            <a:off x="1396655" y="2996005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53" name="Straight Connector 252"/>
          <p:cNvCxnSpPr/>
          <p:nvPr/>
        </p:nvCxnSpPr>
        <p:spPr>
          <a:xfrm>
            <a:off x="3266565" y="276269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258844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Sale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55" name="Rounded Rectangle 254"/>
          <p:cNvSpPr/>
          <p:nvPr/>
        </p:nvSpPr>
        <p:spPr>
          <a:xfrm rot="10800000">
            <a:off x="3279752" y="258847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56" name="Straight Connector 255"/>
          <p:cNvCxnSpPr/>
          <p:nvPr/>
        </p:nvCxnSpPr>
        <p:spPr>
          <a:xfrm>
            <a:off x="3266565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279220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Financ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58" name="Rounded Rectangle 257"/>
          <p:cNvSpPr/>
          <p:nvPr/>
        </p:nvSpPr>
        <p:spPr>
          <a:xfrm rot="10800000">
            <a:off x="3279752" y="279223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59" name="Straight Connector 258"/>
          <p:cNvCxnSpPr/>
          <p:nvPr/>
        </p:nvCxnSpPr>
        <p:spPr>
          <a:xfrm>
            <a:off x="3266565" y="296646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/>
        </p:nvCxnSpPr>
        <p:spPr>
          <a:xfrm>
            <a:off x="3266565" y="3170227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2995974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Procurement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62" name="Rounded Rectangle 261"/>
          <p:cNvSpPr/>
          <p:nvPr/>
        </p:nvSpPr>
        <p:spPr>
          <a:xfrm rot="10800000">
            <a:off x="3279752" y="2996005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74" name="Rectangle 273"/>
          <p:cNvSpPr/>
          <p:nvPr/>
        </p:nvSpPr>
        <p:spPr>
          <a:xfrm>
            <a:off x="1265892" y="3441877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7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4033" y="3465406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Level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310" name="Straight Connector 309"/>
          <p:cNvCxnSpPr/>
          <p:nvPr/>
        </p:nvCxnSpPr>
        <p:spPr>
          <a:xfrm>
            <a:off x="1383468" y="3865874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3691621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12" name="Rounded Rectangle 311"/>
          <p:cNvSpPr/>
          <p:nvPr/>
        </p:nvSpPr>
        <p:spPr>
          <a:xfrm rot="10800000">
            <a:off x="1396655" y="36916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13" name="Straight Connector 312"/>
          <p:cNvCxnSpPr/>
          <p:nvPr/>
        </p:nvCxnSpPr>
        <p:spPr>
          <a:xfrm>
            <a:off x="1383468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3895388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Executive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15" name="Rounded Rectangle 314"/>
          <p:cNvSpPr/>
          <p:nvPr/>
        </p:nvSpPr>
        <p:spPr>
          <a:xfrm rot="10800000">
            <a:off x="1396655" y="3895419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16" name="Straight Connector 315"/>
          <p:cNvCxnSpPr/>
          <p:nvPr/>
        </p:nvCxnSpPr>
        <p:spPr>
          <a:xfrm>
            <a:off x="1383468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/>
          <p:cNvCxnSpPr/>
          <p:nvPr/>
        </p:nvCxnSpPr>
        <p:spPr>
          <a:xfrm>
            <a:off x="1383468" y="4273408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4099155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Directo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19" name="Rounded Rectangle 318"/>
          <p:cNvSpPr/>
          <p:nvPr/>
        </p:nvSpPr>
        <p:spPr>
          <a:xfrm rot="10800000">
            <a:off x="1396655" y="4099186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00" name="Straight Connector 299"/>
          <p:cNvCxnSpPr/>
          <p:nvPr/>
        </p:nvCxnSpPr>
        <p:spPr>
          <a:xfrm>
            <a:off x="3266565" y="3865874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3691621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Manage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02" name="Rounded Rectangle 301"/>
          <p:cNvSpPr/>
          <p:nvPr/>
        </p:nvSpPr>
        <p:spPr>
          <a:xfrm rot="10800000">
            <a:off x="3279752" y="36916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03" name="Straight Connector 302"/>
          <p:cNvCxnSpPr/>
          <p:nvPr/>
        </p:nvCxnSpPr>
        <p:spPr>
          <a:xfrm>
            <a:off x="3266565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3895388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Staff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05" name="Rounded Rectangle 304"/>
          <p:cNvSpPr/>
          <p:nvPr/>
        </p:nvSpPr>
        <p:spPr>
          <a:xfrm rot="10800000">
            <a:off x="3279752" y="3895419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06" name="Straight Connector 305"/>
          <p:cNvCxnSpPr/>
          <p:nvPr/>
        </p:nvCxnSpPr>
        <p:spPr>
          <a:xfrm>
            <a:off x="3266565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/>
          <p:cNvCxnSpPr/>
          <p:nvPr/>
        </p:nvCxnSpPr>
        <p:spPr>
          <a:xfrm>
            <a:off x="3266565" y="4273408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4099155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Board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09" name="Rounded Rectangle 308"/>
          <p:cNvSpPr/>
          <p:nvPr/>
        </p:nvSpPr>
        <p:spPr>
          <a:xfrm rot="10800000">
            <a:off x="3279752" y="4099186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321" name="Rectangle 320"/>
          <p:cNvSpPr/>
          <p:nvPr/>
        </p:nvSpPr>
        <p:spPr>
          <a:xfrm>
            <a:off x="1265892" y="4545059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4033" y="4568588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Working Experience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361" name="Straight Connector 360"/>
          <p:cNvCxnSpPr/>
          <p:nvPr/>
        </p:nvCxnSpPr>
        <p:spPr>
          <a:xfrm>
            <a:off x="1383468" y="496905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4794803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63" name="Rounded Rectangle 362"/>
          <p:cNvSpPr/>
          <p:nvPr/>
        </p:nvSpPr>
        <p:spPr>
          <a:xfrm rot="10800000">
            <a:off x="1396655" y="479483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64" name="Straight Connector 363"/>
          <p:cNvCxnSpPr/>
          <p:nvPr/>
        </p:nvCxnSpPr>
        <p:spPr>
          <a:xfrm>
            <a:off x="1383468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499857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0-5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66" name="Rounded Rectangle 365"/>
          <p:cNvSpPr/>
          <p:nvPr/>
        </p:nvSpPr>
        <p:spPr>
          <a:xfrm rot="10800000">
            <a:off x="1396655" y="499860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67" name="Straight Connector 366"/>
          <p:cNvCxnSpPr/>
          <p:nvPr/>
        </p:nvCxnSpPr>
        <p:spPr>
          <a:xfrm>
            <a:off x="1383468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8" name="Straight Connector 367"/>
          <p:cNvCxnSpPr/>
          <p:nvPr/>
        </p:nvCxnSpPr>
        <p:spPr>
          <a:xfrm>
            <a:off x="1383468" y="537659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71928" y="520233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5-10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70" name="Rounded Rectangle 369"/>
          <p:cNvSpPr/>
          <p:nvPr/>
        </p:nvSpPr>
        <p:spPr>
          <a:xfrm rot="10800000">
            <a:off x="1396655" y="520236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51" name="Straight Connector 350"/>
          <p:cNvCxnSpPr/>
          <p:nvPr/>
        </p:nvCxnSpPr>
        <p:spPr>
          <a:xfrm>
            <a:off x="3266565" y="496905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4794803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0-15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53" name="Rounded Rectangle 352"/>
          <p:cNvSpPr/>
          <p:nvPr/>
        </p:nvSpPr>
        <p:spPr>
          <a:xfrm rot="10800000">
            <a:off x="3279752" y="479483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54" name="Straight Connector 353"/>
          <p:cNvCxnSpPr/>
          <p:nvPr/>
        </p:nvCxnSpPr>
        <p:spPr>
          <a:xfrm>
            <a:off x="3266565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4998570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5-20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56" name="Rounded Rectangle 355"/>
          <p:cNvSpPr/>
          <p:nvPr/>
        </p:nvSpPr>
        <p:spPr>
          <a:xfrm rot="10800000">
            <a:off x="3279752" y="4998601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357" name="Straight Connector 356"/>
          <p:cNvCxnSpPr/>
          <p:nvPr/>
        </p:nvCxnSpPr>
        <p:spPr>
          <a:xfrm>
            <a:off x="3266565" y="517282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/>
          <p:cNvCxnSpPr/>
          <p:nvPr/>
        </p:nvCxnSpPr>
        <p:spPr>
          <a:xfrm>
            <a:off x="3266565" y="537659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555025" y="5202337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&gt; 20 year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360" name="Rounded Rectangle 359"/>
          <p:cNvSpPr/>
          <p:nvPr/>
        </p:nvSpPr>
        <p:spPr>
          <a:xfrm rot="10800000">
            <a:off x="3279752" y="5202368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3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10980" y="5859680"/>
            <a:ext cx="1405859" cy="287643"/>
          </a:xfrm>
          <a:prstGeom prst="roundRect">
            <a:avLst/>
          </a:prstGeom>
          <a:solidFill>
            <a:schemeClr val="accent2">
              <a:lumMod val="9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VIEW RESUL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7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7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59" name="Group 558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60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7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8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9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0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1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2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3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4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5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6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7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8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9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0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1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612" name="Group 611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61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14" name="Group 613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615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28" name="Group 627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62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30" name="Group 629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631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638" name="Group 637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63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640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641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4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5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6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7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8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9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0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1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2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3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4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5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6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7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8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9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0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1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2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3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4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5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6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7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8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9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0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1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2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3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4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5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6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7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8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9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0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1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2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3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4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5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6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7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8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9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0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1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2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3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4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5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6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7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8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9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0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1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2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3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4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5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6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7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8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9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0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1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2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3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4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5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6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7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8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430" name="Rectangle 429"/>
          <p:cNvSpPr/>
          <p:nvPr/>
        </p:nvSpPr>
        <p:spPr>
          <a:xfrm>
            <a:off x="5129419" y="3441877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3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07560" y="3465406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Age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432" name="Straight Connector 431"/>
          <p:cNvCxnSpPr/>
          <p:nvPr/>
        </p:nvCxnSpPr>
        <p:spPr>
          <a:xfrm>
            <a:off x="5246995" y="3865874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35455" y="3691621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All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34" name="Rounded Rectangle 433"/>
          <p:cNvSpPr/>
          <p:nvPr/>
        </p:nvSpPr>
        <p:spPr>
          <a:xfrm rot="10800000">
            <a:off x="5260182" y="36916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35" name="Straight Connector 434"/>
          <p:cNvCxnSpPr/>
          <p:nvPr/>
        </p:nvCxnSpPr>
        <p:spPr>
          <a:xfrm>
            <a:off x="5246995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35455" y="3895388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15-3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37" name="Rounded Rectangle 436"/>
          <p:cNvSpPr/>
          <p:nvPr/>
        </p:nvSpPr>
        <p:spPr>
          <a:xfrm rot="10800000">
            <a:off x="5260182" y="3895419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38" name="Straight Connector 437"/>
          <p:cNvCxnSpPr/>
          <p:nvPr/>
        </p:nvCxnSpPr>
        <p:spPr>
          <a:xfrm>
            <a:off x="5246995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Straight Connector 438"/>
          <p:cNvCxnSpPr/>
          <p:nvPr/>
        </p:nvCxnSpPr>
        <p:spPr>
          <a:xfrm>
            <a:off x="5246995" y="4273408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35455" y="4099155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30-4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41" name="Rounded Rectangle 440"/>
          <p:cNvSpPr/>
          <p:nvPr/>
        </p:nvSpPr>
        <p:spPr>
          <a:xfrm rot="10800000">
            <a:off x="5260182" y="4099186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42" name="Straight Connector 441"/>
          <p:cNvCxnSpPr/>
          <p:nvPr/>
        </p:nvCxnSpPr>
        <p:spPr>
          <a:xfrm>
            <a:off x="7130092" y="3865874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18552" y="3691621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40-5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44" name="Rounded Rectangle 443"/>
          <p:cNvSpPr/>
          <p:nvPr/>
        </p:nvSpPr>
        <p:spPr>
          <a:xfrm rot="10800000">
            <a:off x="7143279" y="36916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45" name="Straight Connector 444"/>
          <p:cNvCxnSpPr/>
          <p:nvPr/>
        </p:nvCxnSpPr>
        <p:spPr>
          <a:xfrm>
            <a:off x="7130092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18552" y="3895388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50-6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47" name="Rounded Rectangle 446"/>
          <p:cNvSpPr/>
          <p:nvPr/>
        </p:nvSpPr>
        <p:spPr>
          <a:xfrm rot="10800000">
            <a:off x="7143279" y="3895419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48" name="Straight Connector 447"/>
          <p:cNvCxnSpPr/>
          <p:nvPr/>
        </p:nvCxnSpPr>
        <p:spPr>
          <a:xfrm>
            <a:off x="7130092" y="4069641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Straight Connector 448"/>
          <p:cNvCxnSpPr/>
          <p:nvPr/>
        </p:nvCxnSpPr>
        <p:spPr>
          <a:xfrm>
            <a:off x="7130092" y="4273408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18552" y="4099155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&gt;60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51" name="Rounded Rectangle 450"/>
          <p:cNvSpPr/>
          <p:nvPr/>
        </p:nvSpPr>
        <p:spPr>
          <a:xfrm rot="10800000">
            <a:off x="7143279" y="4099186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52" name="Rectangle 451"/>
          <p:cNvSpPr/>
          <p:nvPr/>
        </p:nvSpPr>
        <p:spPr>
          <a:xfrm>
            <a:off x="5129419" y="4545059"/>
            <a:ext cx="3687108" cy="55511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5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07560" y="4568588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Gender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454" name="Straight Connector 453"/>
          <p:cNvCxnSpPr/>
          <p:nvPr/>
        </p:nvCxnSpPr>
        <p:spPr>
          <a:xfrm>
            <a:off x="5246995" y="496905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35455" y="4794803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Mal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56" name="Rounded Rectangle 455"/>
          <p:cNvSpPr/>
          <p:nvPr/>
        </p:nvSpPr>
        <p:spPr>
          <a:xfrm rot="10800000">
            <a:off x="5260182" y="479483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464" name="Straight Connector 463"/>
          <p:cNvCxnSpPr/>
          <p:nvPr/>
        </p:nvCxnSpPr>
        <p:spPr>
          <a:xfrm>
            <a:off x="7130092" y="496905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418552" y="4794803"/>
            <a:ext cx="1327632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Femal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66" name="Rounded Rectangle 465"/>
          <p:cNvSpPr/>
          <p:nvPr/>
        </p:nvSpPr>
        <p:spPr>
          <a:xfrm rot="10800000">
            <a:off x="7143279" y="479483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74" name="Rectangle 473"/>
          <p:cNvSpPr/>
          <p:nvPr/>
        </p:nvSpPr>
        <p:spPr>
          <a:xfrm>
            <a:off x="5110283" y="2338696"/>
            <a:ext cx="3687108" cy="92531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75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5188424" y="2362225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Location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4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2610349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HO CHI MINH CITY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2832074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HANOI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73216" y="3042190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DANAN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7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2610349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CAN THO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8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2832074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BINH DUONG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48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6859" y="3042190"/>
            <a:ext cx="1606924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b="1" dirty="0">
                <a:solidFill>
                  <a:schemeClr val="accent5"/>
                </a:solidFill>
              </a:rPr>
              <a:t>X   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HU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49080" y="1149896"/>
            <a:ext cx="2059624" cy="39740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82628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70648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835938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064330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311171" y="452694"/>
            <a:ext cx="1944374" cy="348048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8012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1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1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1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450" name="Group 449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451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2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3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4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5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6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7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8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9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0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1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2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3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4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5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6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7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8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9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0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1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2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3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4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5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6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7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8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9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0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1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2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3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4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5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6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7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8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9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0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1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2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3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4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5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6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7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8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9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0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1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2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503" name="Group 502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50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05" name="Group 504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506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7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8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9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0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1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2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3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4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5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6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7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8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19" name="Group 518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52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21" name="Group 520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522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3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4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5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6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7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8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29" name="Group 528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53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31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532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3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4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5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6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7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8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9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0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1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2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3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4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5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6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7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8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9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0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1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2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3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4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5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6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7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8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9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0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1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2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3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4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5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6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7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8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9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0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1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2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3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4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5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6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7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8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9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0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1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2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3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4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5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6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7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8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9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0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1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2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3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4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5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6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7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8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9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0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1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2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3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4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3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4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5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408" name="Group 407"/>
          <p:cNvGrpSpPr/>
          <p:nvPr/>
        </p:nvGrpSpPr>
        <p:grpSpPr>
          <a:xfrm>
            <a:off x="1325956" y="2262510"/>
            <a:ext cx="7448832" cy="3595344"/>
            <a:chOff x="1325956" y="2262510"/>
            <a:chExt cx="7448832" cy="3595344"/>
          </a:xfrm>
        </p:grpSpPr>
        <p:sp>
          <p:nvSpPr>
            <p:cNvPr id="409" name="Rectangle 408"/>
            <p:cNvSpPr/>
            <p:nvPr/>
          </p:nvSpPr>
          <p:spPr>
            <a:xfrm>
              <a:off x="6901408" y="2262510"/>
              <a:ext cx="1873380" cy="34015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dirty="0" smtClean="0"/>
            </a:p>
          </p:txBody>
        </p:sp>
        <p:sp>
          <p:nvSpPr>
            <p:cNvPr id="410" name="Rectangle 409"/>
            <p:cNvSpPr/>
            <p:nvPr/>
          </p:nvSpPr>
          <p:spPr>
            <a:xfrm>
              <a:off x="1325956" y="2262510"/>
              <a:ext cx="5575452" cy="3595344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dirty="0" smtClean="0"/>
            </a:p>
          </p:txBody>
        </p:sp>
        <p:sp>
          <p:nvSpPr>
            <p:cNvPr id="4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79548" y="2290980"/>
              <a:ext cx="1701089" cy="221545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Contact P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grpSp>
          <p:nvGrpSpPr>
            <p:cNvPr id="412" name="Group 411"/>
            <p:cNvGrpSpPr/>
            <p:nvPr/>
          </p:nvGrpSpPr>
          <p:grpSpPr>
            <a:xfrm>
              <a:off x="6979548" y="2690203"/>
              <a:ext cx="1701089" cy="210846"/>
              <a:chOff x="9019554" y="2269181"/>
              <a:chExt cx="2058318" cy="248867"/>
            </a:xfrm>
          </p:grpSpPr>
          <p:cxnSp>
            <p:nvCxnSpPr>
              <p:cNvPr id="756" name="Straight Connector 755"/>
              <p:cNvCxnSpPr/>
              <p:nvPr/>
            </p:nvCxnSpPr>
            <p:spPr>
              <a:xfrm>
                <a:off x="9067270" y="2518048"/>
                <a:ext cx="1955471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7" name="正方形/長方形 4">
                <a:extLst>
                  <a:ext uri="{FF2B5EF4-FFF2-40B4-BE49-F238E27FC236}">
                    <a16:creationId xmlns="" xmlns:a16="http://schemas.microsoft.com/office/drawing/2014/main" id="{51FD91B2-BEE1-4D95-8378-21BF94A03A37}"/>
                  </a:ext>
                </a:extLst>
              </p:cNvPr>
              <p:cNvSpPr/>
              <p:nvPr/>
            </p:nvSpPr>
            <p:spPr>
              <a:xfrm>
                <a:off x="9019554" y="2269181"/>
                <a:ext cx="2058318" cy="216111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r>
                  <a:rPr kumimoji="1" lang="en-US" altLang="ja-JP" sz="1000" dirty="0" smtClean="0">
                    <a:solidFill>
                      <a:schemeClr val="accent5"/>
                    </a:solidFill>
                  </a:rPr>
                  <a:t>Overview</a:t>
                </a:r>
                <a:endParaRPr kumimoji="1" lang="en-US" altLang="ja-JP" sz="10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758" name="Isosceles Triangle 757"/>
              <p:cNvSpPr/>
              <p:nvPr/>
            </p:nvSpPr>
            <p:spPr>
              <a:xfrm rot="10800000">
                <a:off x="10751221" y="2321810"/>
                <a:ext cx="295612" cy="110855"/>
              </a:xfrm>
              <a:prstGeom prst="triangle">
                <a:avLst/>
              </a:prstGeom>
              <a:solidFill>
                <a:schemeClr val="accent6"/>
              </a:solidFill>
              <a:ln w="25400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US" sz="1050" dirty="0" smtClean="0"/>
              </a:p>
            </p:txBody>
          </p:sp>
        </p:grpSp>
        <p:grpSp>
          <p:nvGrpSpPr>
            <p:cNvPr id="413" name="Group 412"/>
            <p:cNvGrpSpPr/>
            <p:nvPr/>
          </p:nvGrpSpPr>
          <p:grpSpPr>
            <a:xfrm>
              <a:off x="6979548" y="3429877"/>
              <a:ext cx="1701089" cy="210846"/>
              <a:chOff x="9019554" y="2269181"/>
              <a:chExt cx="2058318" cy="248867"/>
            </a:xfrm>
          </p:grpSpPr>
          <p:cxnSp>
            <p:nvCxnSpPr>
              <p:cNvPr id="753" name="Straight Connector 752"/>
              <p:cNvCxnSpPr/>
              <p:nvPr/>
            </p:nvCxnSpPr>
            <p:spPr>
              <a:xfrm>
                <a:off x="9067270" y="2518048"/>
                <a:ext cx="1955471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4" name="正方形/長方形 4">
                <a:extLst>
                  <a:ext uri="{FF2B5EF4-FFF2-40B4-BE49-F238E27FC236}">
                    <a16:creationId xmlns="" xmlns:a16="http://schemas.microsoft.com/office/drawing/2014/main" id="{51FD91B2-BEE1-4D95-8378-21BF94A03A37}"/>
                  </a:ext>
                </a:extLst>
              </p:cNvPr>
              <p:cNvSpPr/>
              <p:nvPr/>
            </p:nvSpPr>
            <p:spPr>
              <a:xfrm>
                <a:off x="9019554" y="2269181"/>
                <a:ext cx="2058318" cy="216111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r>
                  <a:rPr kumimoji="1" lang="en-US" altLang="ja-JP" sz="1000" dirty="0" smtClean="0">
                    <a:solidFill>
                      <a:schemeClr val="accent5"/>
                    </a:solidFill>
                  </a:rPr>
                  <a:t>Performance</a:t>
                </a:r>
                <a:endParaRPr kumimoji="1" lang="en-US" altLang="ja-JP" sz="10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755" name="Isosceles Triangle 754"/>
              <p:cNvSpPr/>
              <p:nvPr/>
            </p:nvSpPr>
            <p:spPr>
              <a:xfrm rot="10800000">
                <a:off x="10751221" y="2321810"/>
                <a:ext cx="295612" cy="110855"/>
              </a:xfrm>
              <a:prstGeom prst="triangle">
                <a:avLst/>
              </a:prstGeom>
              <a:solidFill>
                <a:schemeClr val="accent6"/>
              </a:solidFill>
              <a:ln w="25400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US" sz="1050" dirty="0" smtClean="0"/>
              </a:p>
            </p:txBody>
          </p:sp>
        </p:grpSp>
        <p:grpSp>
          <p:nvGrpSpPr>
            <p:cNvPr id="414" name="Group 413"/>
            <p:cNvGrpSpPr/>
            <p:nvPr/>
          </p:nvGrpSpPr>
          <p:grpSpPr>
            <a:xfrm>
              <a:off x="6979548" y="4169550"/>
              <a:ext cx="1701089" cy="210846"/>
              <a:chOff x="9019554" y="2269181"/>
              <a:chExt cx="2058318" cy="248867"/>
            </a:xfrm>
          </p:grpSpPr>
          <p:cxnSp>
            <p:nvCxnSpPr>
              <p:cNvPr id="750" name="Straight Connector 749"/>
              <p:cNvCxnSpPr/>
              <p:nvPr/>
            </p:nvCxnSpPr>
            <p:spPr>
              <a:xfrm>
                <a:off x="9067270" y="2518048"/>
                <a:ext cx="1955471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1" name="正方形/長方形 4">
                <a:extLst>
                  <a:ext uri="{FF2B5EF4-FFF2-40B4-BE49-F238E27FC236}">
                    <a16:creationId xmlns="" xmlns:a16="http://schemas.microsoft.com/office/drawing/2014/main" id="{51FD91B2-BEE1-4D95-8378-21BF94A03A37}"/>
                  </a:ext>
                </a:extLst>
              </p:cNvPr>
              <p:cNvSpPr/>
              <p:nvPr/>
            </p:nvSpPr>
            <p:spPr>
              <a:xfrm>
                <a:off x="9019554" y="2269181"/>
                <a:ext cx="2058318" cy="216111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r>
                  <a:rPr kumimoji="1" lang="en-US" altLang="ja-JP" sz="1000" dirty="0" smtClean="0">
                    <a:solidFill>
                      <a:schemeClr val="accent5"/>
                    </a:solidFill>
                  </a:rPr>
                  <a:t>Structure</a:t>
                </a:r>
                <a:endParaRPr kumimoji="1" lang="en-US" altLang="ja-JP" sz="10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752" name="Isosceles Triangle 751"/>
              <p:cNvSpPr/>
              <p:nvPr/>
            </p:nvSpPr>
            <p:spPr>
              <a:xfrm rot="10800000">
                <a:off x="10751221" y="2321810"/>
                <a:ext cx="295612" cy="110855"/>
              </a:xfrm>
              <a:prstGeom prst="triangle">
                <a:avLst/>
              </a:prstGeom>
              <a:solidFill>
                <a:schemeClr val="accent6"/>
              </a:solidFill>
              <a:ln w="25400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US" sz="1050" dirty="0" smtClean="0"/>
              </a:p>
            </p:txBody>
          </p:sp>
        </p:grpSp>
        <p:grpSp>
          <p:nvGrpSpPr>
            <p:cNvPr id="415" name="Group 414"/>
            <p:cNvGrpSpPr/>
            <p:nvPr/>
          </p:nvGrpSpPr>
          <p:grpSpPr>
            <a:xfrm>
              <a:off x="6979548" y="4909223"/>
              <a:ext cx="1701089" cy="210846"/>
              <a:chOff x="9019554" y="2269181"/>
              <a:chExt cx="2058318" cy="248867"/>
            </a:xfrm>
          </p:grpSpPr>
          <p:cxnSp>
            <p:nvCxnSpPr>
              <p:cNvPr id="747" name="Straight Connector 746"/>
              <p:cNvCxnSpPr/>
              <p:nvPr/>
            </p:nvCxnSpPr>
            <p:spPr>
              <a:xfrm>
                <a:off x="9067270" y="2518048"/>
                <a:ext cx="1955471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8" name="正方形/長方形 4">
                <a:extLst>
                  <a:ext uri="{FF2B5EF4-FFF2-40B4-BE49-F238E27FC236}">
                    <a16:creationId xmlns="" xmlns:a16="http://schemas.microsoft.com/office/drawing/2014/main" id="{51FD91B2-BEE1-4D95-8378-21BF94A03A37}"/>
                  </a:ext>
                </a:extLst>
              </p:cNvPr>
              <p:cNvSpPr/>
              <p:nvPr/>
            </p:nvSpPr>
            <p:spPr>
              <a:xfrm>
                <a:off x="9019554" y="2269181"/>
                <a:ext cx="2058318" cy="216111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r>
                  <a:rPr kumimoji="1" lang="en-US" altLang="ja-JP" sz="1000" dirty="0" smtClean="0">
                    <a:solidFill>
                      <a:schemeClr val="accent5"/>
                    </a:solidFill>
                  </a:rPr>
                  <a:t>Executives</a:t>
                </a:r>
                <a:endParaRPr kumimoji="1" lang="en-US" altLang="ja-JP" sz="10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749" name="Isosceles Triangle 748"/>
              <p:cNvSpPr/>
              <p:nvPr/>
            </p:nvSpPr>
            <p:spPr>
              <a:xfrm rot="10800000">
                <a:off x="10751221" y="2321810"/>
                <a:ext cx="295612" cy="110855"/>
              </a:xfrm>
              <a:prstGeom prst="triangle">
                <a:avLst/>
              </a:prstGeom>
              <a:solidFill>
                <a:schemeClr val="accent6"/>
              </a:solidFill>
              <a:ln w="25400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US" sz="1050" dirty="0" smtClean="0"/>
              </a:p>
            </p:txBody>
          </p:sp>
        </p:grpSp>
        <p:sp>
          <p:nvSpPr>
            <p:cNvPr id="41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cxnSp>
          <p:nvCxnSpPr>
            <p:cNvPr id="417" name="Straight Connector 416"/>
            <p:cNvCxnSpPr/>
            <p:nvPr/>
          </p:nvCxnSpPr>
          <p:spPr>
            <a:xfrm>
              <a:off x="1421000" y="2901050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Straight Connector 417"/>
            <p:cNvCxnSpPr/>
            <p:nvPr/>
          </p:nvCxnSpPr>
          <p:spPr>
            <a:xfrm>
              <a:off x="1421000" y="3147608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Straight Connector 418"/>
            <p:cNvCxnSpPr/>
            <p:nvPr/>
          </p:nvCxnSpPr>
          <p:spPr>
            <a:xfrm>
              <a:off x="1421000" y="3394165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Straight Connector 419"/>
            <p:cNvCxnSpPr/>
            <p:nvPr/>
          </p:nvCxnSpPr>
          <p:spPr>
            <a:xfrm>
              <a:off x="1421000" y="3640723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Straight Connector 420"/>
            <p:cNvCxnSpPr/>
            <p:nvPr/>
          </p:nvCxnSpPr>
          <p:spPr>
            <a:xfrm>
              <a:off x="1421000" y="3887281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Straight Connector 421"/>
            <p:cNvCxnSpPr/>
            <p:nvPr/>
          </p:nvCxnSpPr>
          <p:spPr>
            <a:xfrm>
              <a:off x="1421000" y="4133839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Straight Connector 422"/>
            <p:cNvCxnSpPr/>
            <p:nvPr/>
          </p:nvCxnSpPr>
          <p:spPr>
            <a:xfrm>
              <a:off x="1421000" y="4380397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Straight Connector 423"/>
            <p:cNvCxnSpPr/>
            <p:nvPr/>
          </p:nvCxnSpPr>
          <p:spPr>
            <a:xfrm>
              <a:off x="1421000" y="4626954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Straight Connector 424"/>
            <p:cNvCxnSpPr/>
            <p:nvPr/>
          </p:nvCxnSpPr>
          <p:spPr>
            <a:xfrm>
              <a:off x="1421000" y="4873512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Straight Connector 425"/>
            <p:cNvCxnSpPr/>
            <p:nvPr/>
          </p:nvCxnSpPr>
          <p:spPr>
            <a:xfrm>
              <a:off x="1421000" y="5120069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Straight Connector 426"/>
            <p:cNvCxnSpPr/>
            <p:nvPr/>
          </p:nvCxnSpPr>
          <p:spPr>
            <a:xfrm>
              <a:off x="1421000" y="5366628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Straight Connector 427"/>
            <p:cNvCxnSpPr/>
            <p:nvPr/>
          </p:nvCxnSpPr>
          <p:spPr>
            <a:xfrm>
              <a:off x="1421000" y="5613183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Straight Connector 428"/>
            <p:cNvCxnSpPr/>
            <p:nvPr/>
          </p:nvCxnSpPr>
          <p:spPr>
            <a:xfrm>
              <a:off x="1421000" y="2686783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Company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Function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Level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Ag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Location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3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44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3420718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3420718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3420718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3420718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3420718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3420718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9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3665670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3665670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3665670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3665670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3665670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3665670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390877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390877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390877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390877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0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390877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390877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414293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414293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414293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414293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414293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414293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4386037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4386037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1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4386037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4386037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4386037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4386037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463611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463611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463611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463611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463611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4636113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2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487921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487921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487921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487921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487921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487921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5140362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5140362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5140362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5140362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3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5140362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5140362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1347960" y="538346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84064" y="538346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err="1" smtClean="0">
                  <a:solidFill>
                    <a:schemeClr val="accent5"/>
                  </a:solidFill>
                </a:rPr>
                <a:t>Vingroup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16268" y="538346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Marketing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2337" y="538346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sampl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092376" y="538346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35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74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987835" y="5383466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HCMC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712335" y="1149896"/>
            <a:ext cx="1172849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0.5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93567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70648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835938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064330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311171" y="452694"/>
            <a:ext cx="1944374" cy="348048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8012" y="452694"/>
            <a:ext cx="1944374" cy="348048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3217414" y="2262510"/>
            <a:ext cx="5575452" cy="3595344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3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3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3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3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3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1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1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1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450" name="Group 449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451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2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3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4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5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6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7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8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9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0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1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2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3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4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5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6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7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8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9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0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1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2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3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4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5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6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7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8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9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0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1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2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3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4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5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6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7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8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9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0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1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2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3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4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5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6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7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8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9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0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1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2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6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56792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Person Penetration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85110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Total Selected Compan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9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13428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people in selected compan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30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841745" y="2302024"/>
            <a:ext cx="1701090" cy="159927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verage Predictive Company Scor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pic>
        <p:nvPicPr>
          <p:cNvPr id="301" name="Picture 30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277" y="2378369"/>
            <a:ext cx="1334675" cy="1478939"/>
          </a:xfrm>
          <a:prstGeom prst="rect">
            <a:avLst/>
          </a:prstGeom>
        </p:spPr>
      </p:pic>
      <p:sp>
        <p:nvSpPr>
          <p:cNvPr id="30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62433" y="2734072"/>
            <a:ext cx="1546445" cy="9930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companies</a:t>
            </a:r>
          </a:p>
          <a:p>
            <a:pPr algn="ctr"/>
            <a:r>
              <a:rPr kumimoji="1" lang="en-US" altLang="ja-JP" sz="2800" b="1" dirty="0" smtClean="0">
                <a:solidFill>
                  <a:schemeClr val="accent5"/>
                </a:solidFill>
              </a:rPr>
              <a:t>123,435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30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31" y="2734072"/>
            <a:ext cx="1546445" cy="9930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people</a:t>
            </a:r>
          </a:p>
          <a:p>
            <a:pPr algn="ctr"/>
            <a:r>
              <a:rPr kumimoji="1" lang="en-US" altLang="ja-JP" sz="2800" b="1" dirty="0" smtClean="0">
                <a:solidFill>
                  <a:schemeClr val="accent5"/>
                </a:solidFill>
              </a:rPr>
              <a:t>234,435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grpSp>
        <p:nvGrpSpPr>
          <p:cNvPr id="304" name="Group 303"/>
          <p:cNvGrpSpPr/>
          <p:nvPr/>
        </p:nvGrpSpPr>
        <p:grpSpPr>
          <a:xfrm>
            <a:off x="7379869" y="2571844"/>
            <a:ext cx="590288" cy="866497"/>
            <a:chOff x="4365373" y="4050371"/>
            <a:chExt cx="2349815" cy="866497"/>
          </a:xfrm>
        </p:grpSpPr>
        <p:cxnSp>
          <p:nvCxnSpPr>
            <p:cNvPr id="305" name="Gerade Verbindung 112"/>
            <p:cNvCxnSpPr/>
            <p:nvPr/>
          </p:nvCxnSpPr>
          <p:spPr bwMode="gray">
            <a:xfrm flipH="1">
              <a:off x="4365373" y="4743568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Gerade Verbindung 113"/>
            <p:cNvCxnSpPr/>
            <p:nvPr/>
          </p:nvCxnSpPr>
          <p:spPr bwMode="gray">
            <a:xfrm flipH="1">
              <a:off x="4365373" y="4570269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Gerade Verbindung 114"/>
            <p:cNvCxnSpPr/>
            <p:nvPr/>
          </p:nvCxnSpPr>
          <p:spPr bwMode="gray">
            <a:xfrm flipH="1">
              <a:off x="4365373" y="4396970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Gerade Verbindung 115"/>
            <p:cNvCxnSpPr/>
            <p:nvPr/>
          </p:nvCxnSpPr>
          <p:spPr bwMode="gray">
            <a:xfrm flipH="1">
              <a:off x="4365373" y="4050371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Gerade Verbindung 116"/>
            <p:cNvCxnSpPr/>
            <p:nvPr/>
          </p:nvCxnSpPr>
          <p:spPr bwMode="gray">
            <a:xfrm flipH="1">
              <a:off x="4365373" y="4916868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Gerade Verbindung 117"/>
            <p:cNvCxnSpPr/>
            <p:nvPr/>
          </p:nvCxnSpPr>
          <p:spPr bwMode="gray">
            <a:xfrm flipH="1">
              <a:off x="4365373" y="4223671"/>
              <a:ext cx="2349815" cy="0"/>
            </a:xfrm>
            <a:prstGeom prst="line">
              <a:avLst/>
            </a:prstGeom>
            <a:ln>
              <a:solidFill>
                <a:srgbClr val="D7D7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1" name="Textfeld 106"/>
          <p:cNvSpPr txBox="1"/>
          <p:nvPr/>
        </p:nvSpPr>
        <p:spPr bwMode="gray">
          <a:xfrm>
            <a:off x="7970157" y="2483241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100%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12" name="Textfeld 107"/>
          <p:cNvSpPr txBox="1"/>
          <p:nvPr/>
        </p:nvSpPr>
        <p:spPr bwMode="gray">
          <a:xfrm>
            <a:off x="7970157" y="2656540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8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13" name="Textfeld 108"/>
          <p:cNvSpPr txBox="1"/>
          <p:nvPr/>
        </p:nvSpPr>
        <p:spPr bwMode="gray">
          <a:xfrm>
            <a:off x="7970157" y="2829839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6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14" name="Textfeld 109"/>
          <p:cNvSpPr txBox="1"/>
          <p:nvPr/>
        </p:nvSpPr>
        <p:spPr bwMode="gray">
          <a:xfrm>
            <a:off x="7970157" y="3003138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4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15" name="Textfeld 110"/>
          <p:cNvSpPr txBox="1"/>
          <p:nvPr/>
        </p:nvSpPr>
        <p:spPr bwMode="gray">
          <a:xfrm>
            <a:off x="7970157" y="3176437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2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16" name="Textfeld 111"/>
          <p:cNvSpPr txBox="1"/>
          <p:nvPr/>
        </p:nvSpPr>
        <p:spPr bwMode="gray">
          <a:xfrm>
            <a:off x="7970157" y="3349737"/>
            <a:ext cx="311778" cy="177206"/>
          </a:xfrm>
          <a:prstGeom prst="rect">
            <a:avLst/>
          </a:prstGeom>
          <a:noFill/>
        </p:spPr>
        <p:txBody>
          <a:bodyPr wrap="square" lIns="36000" tIns="0" rIns="0" bIns="0" rtlCol="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de-DE" sz="800" smtClean="0">
                <a:solidFill>
                  <a:schemeClr val="accent5"/>
                </a:solidFill>
              </a:rPr>
              <a:t>0</a:t>
            </a:r>
            <a:endParaRPr lang="de-DE" sz="800">
              <a:solidFill>
                <a:schemeClr val="accent5"/>
              </a:solidFill>
            </a:endParaRPr>
          </a:p>
        </p:txBody>
      </p:sp>
      <p:sp>
        <p:nvSpPr>
          <p:cNvPr id="317" name="Textfeld 86"/>
          <p:cNvSpPr txBox="1"/>
          <p:nvPr/>
        </p:nvSpPr>
        <p:spPr bwMode="gray">
          <a:xfrm>
            <a:off x="7260120" y="3688959"/>
            <a:ext cx="869675" cy="18473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kumimoji="1" lang="de-DE" sz="800" dirty="0">
                <a:solidFill>
                  <a:schemeClr val="accent5"/>
                </a:solidFill>
              </a:rPr>
              <a:t>Predictive Meter</a:t>
            </a:r>
          </a:p>
        </p:txBody>
      </p:sp>
      <p:grpSp>
        <p:nvGrpSpPr>
          <p:cNvPr id="318" name="Group 317"/>
          <p:cNvGrpSpPr/>
          <p:nvPr/>
        </p:nvGrpSpPr>
        <p:grpSpPr>
          <a:xfrm>
            <a:off x="7581701" y="2545101"/>
            <a:ext cx="226513" cy="1132461"/>
            <a:chOff x="6337028" y="4023628"/>
            <a:chExt cx="205921" cy="1132461"/>
          </a:xfrm>
        </p:grpSpPr>
        <p:sp>
          <p:nvSpPr>
            <p:cNvPr id="319" name="Ellipse 4"/>
            <p:cNvSpPr/>
            <p:nvPr/>
          </p:nvSpPr>
          <p:spPr bwMode="gray">
            <a:xfrm>
              <a:off x="6337028" y="4023628"/>
              <a:ext cx="205921" cy="1132461"/>
            </a:xfrm>
            <a:custGeom>
              <a:avLst/>
              <a:gdLst/>
              <a:ahLst/>
              <a:cxnLst/>
              <a:rect l="l" t="t" r="r" b="b"/>
              <a:pathLst>
                <a:path w="866776" h="5243513">
                  <a:moveTo>
                    <a:pt x="433388" y="0"/>
                  </a:moveTo>
                  <a:cubicBezTo>
                    <a:pt x="559956" y="0"/>
                    <a:pt x="662559" y="102603"/>
                    <a:pt x="662559" y="229171"/>
                  </a:cubicBezTo>
                  <a:lnTo>
                    <a:pt x="662559" y="4443621"/>
                  </a:lnTo>
                  <a:cubicBezTo>
                    <a:pt x="785468" y="4519232"/>
                    <a:pt x="866776" y="4655183"/>
                    <a:pt x="866776" y="4810125"/>
                  </a:cubicBezTo>
                  <a:cubicBezTo>
                    <a:pt x="866776" y="5049479"/>
                    <a:pt x="672742" y="5243513"/>
                    <a:pt x="433388" y="5243513"/>
                  </a:cubicBezTo>
                  <a:cubicBezTo>
                    <a:pt x="194034" y="5243513"/>
                    <a:pt x="0" y="5049479"/>
                    <a:pt x="0" y="4810125"/>
                  </a:cubicBezTo>
                  <a:cubicBezTo>
                    <a:pt x="0" y="4655183"/>
                    <a:pt x="81309" y="4519232"/>
                    <a:pt x="204217" y="4443621"/>
                  </a:cubicBezTo>
                  <a:lnTo>
                    <a:pt x="204217" y="229171"/>
                  </a:lnTo>
                  <a:cubicBezTo>
                    <a:pt x="204217" y="102603"/>
                    <a:pt x="306820" y="0"/>
                    <a:pt x="433388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7D7D7D"/>
                </a:gs>
                <a:gs pos="85000">
                  <a:srgbClr val="969696"/>
                </a:gs>
                <a:gs pos="60000">
                  <a:srgbClr val="C8C8C8"/>
                </a:gs>
                <a:gs pos="20000">
                  <a:srgbClr val="FFFFFF"/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1270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de-DE" sz="1100"/>
            </a:p>
          </p:txBody>
        </p:sp>
        <p:sp>
          <p:nvSpPr>
            <p:cNvPr id="320" name="Abgerundetes Rechteck 89"/>
            <p:cNvSpPr/>
            <p:nvPr/>
          </p:nvSpPr>
          <p:spPr bwMode="gray">
            <a:xfrm>
              <a:off x="6416228" y="4050371"/>
              <a:ext cx="47520" cy="99566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0">
                  <a:srgbClr val="E6E6E6"/>
                </a:gs>
                <a:gs pos="0">
                  <a:srgbClr val="7D7D7D"/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100"/>
            </a:p>
          </p:txBody>
        </p:sp>
        <p:sp>
          <p:nvSpPr>
            <p:cNvPr id="321" name="Abgerundetes Rechteck 90"/>
            <p:cNvSpPr/>
            <p:nvPr/>
          </p:nvSpPr>
          <p:spPr bwMode="gray">
            <a:xfrm rot="10800000">
              <a:off x="6416228" y="4328498"/>
              <a:ext cx="47520" cy="6973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90000">
                  <a:schemeClr val="accent1">
                    <a:lumMod val="50000"/>
                  </a:schemeClr>
                </a:gs>
                <a:gs pos="50000">
                  <a:schemeClr val="accent1"/>
                </a:gs>
                <a:gs pos="15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100"/>
            </a:p>
          </p:txBody>
        </p:sp>
        <p:sp>
          <p:nvSpPr>
            <p:cNvPr id="322" name="Ellipse 91"/>
            <p:cNvSpPr/>
            <p:nvPr/>
          </p:nvSpPr>
          <p:spPr bwMode="gray">
            <a:xfrm>
              <a:off x="6374365" y="5002831"/>
              <a:ext cx="131247" cy="119315"/>
            </a:xfrm>
            <a:prstGeom prst="ellipse">
              <a:avLst/>
            </a:prstGeom>
            <a:gradFill flip="none" rotWithShape="1">
              <a:gsLst>
                <a:gs pos="100000">
                  <a:schemeClr val="accent1"/>
                </a:gs>
                <a:gs pos="0">
                  <a:schemeClr val="accent1">
                    <a:lumMod val="5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100"/>
            </a:p>
          </p:txBody>
        </p:sp>
      </p:grpSp>
      <p:grpSp>
        <p:nvGrpSpPr>
          <p:cNvPr id="326" name="Group 325"/>
          <p:cNvGrpSpPr/>
          <p:nvPr/>
        </p:nvGrpSpPr>
        <p:grpSpPr>
          <a:xfrm>
            <a:off x="2118351" y="4391236"/>
            <a:ext cx="1391480" cy="1099258"/>
            <a:chOff x="2970278" y="4652458"/>
            <a:chExt cx="864000" cy="1209184"/>
          </a:xfrm>
        </p:grpSpPr>
        <p:sp>
          <p:nvSpPr>
            <p:cNvPr id="327" name="Rechteck 202"/>
            <p:cNvSpPr/>
            <p:nvPr/>
          </p:nvSpPr>
          <p:spPr bwMode="gray">
            <a:xfrm>
              <a:off x="2970278" y="4652458"/>
              <a:ext cx="864000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03" name="Rechteck 205"/>
            <p:cNvSpPr/>
            <p:nvPr/>
          </p:nvSpPr>
          <p:spPr bwMode="gray">
            <a:xfrm>
              <a:off x="2970278" y="4927754"/>
              <a:ext cx="776461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04" name="Rechteck 206"/>
            <p:cNvSpPr/>
            <p:nvPr/>
          </p:nvSpPr>
          <p:spPr bwMode="gray">
            <a:xfrm>
              <a:off x="2970278" y="5203050"/>
              <a:ext cx="560643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05" name="Rechteck 207"/>
            <p:cNvSpPr/>
            <p:nvPr/>
          </p:nvSpPr>
          <p:spPr bwMode="gray">
            <a:xfrm>
              <a:off x="2970278" y="5478346"/>
              <a:ext cx="520386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06" name="Rechteck 208"/>
            <p:cNvSpPr/>
            <p:nvPr/>
          </p:nvSpPr>
          <p:spPr bwMode="gray">
            <a:xfrm>
              <a:off x="2970279" y="5753642"/>
              <a:ext cx="303499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507" name="Textfeld 219"/>
          <p:cNvSpPr txBox="1"/>
          <p:nvPr/>
        </p:nvSpPr>
        <p:spPr bwMode="gray">
          <a:xfrm>
            <a:off x="1414343" y="4391236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Top management</a:t>
            </a:r>
          </a:p>
        </p:txBody>
      </p:sp>
      <p:sp>
        <p:nvSpPr>
          <p:cNvPr id="508" name="Textfeld 220"/>
          <p:cNvSpPr txBox="1"/>
          <p:nvPr/>
        </p:nvSpPr>
        <p:spPr bwMode="gray">
          <a:xfrm>
            <a:off x="1414343" y="4641505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Marketing</a:t>
            </a:r>
          </a:p>
        </p:txBody>
      </p:sp>
      <p:sp>
        <p:nvSpPr>
          <p:cNvPr id="509" name="Textfeld 221"/>
          <p:cNvSpPr txBox="1"/>
          <p:nvPr/>
        </p:nvSpPr>
        <p:spPr bwMode="gray">
          <a:xfrm>
            <a:off x="1414343" y="487909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Sales</a:t>
            </a:r>
          </a:p>
        </p:txBody>
      </p:sp>
      <p:sp>
        <p:nvSpPr>
          <p:cNvPr id="510" name="Textfeld 222"/>
          <p:cNvSpPr txBox="1"/>
          <p:nvPr/>
        </p:nvSpPr>
        <p:spPr bwMode="gray">
          <a:xfrm>
            <a:off x="1414343" y="512936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Finance</a:t>
            </a:r>
          </a:p>
        </p:txBody>
      </p:sp>
      <p:sp>
        <p:nvSpPr>
          <p:cNvPr id="511" name="Textfeld 223"/>
          <p:cNvSpPr txBox="1"/>
          <p:nvPr/>
        </p:nvSpPr>
        <p:spPr bwMode="gray">
          <a:xfrm>
            <a:off x="1414343" y="5392313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Procurement</a:t>
            </a:r>
          </a:p>
        </p:txBody>
      </p:sp>
      <p:sp>
        <p:nvSpPr>
          <p:cNvPr id="51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24889" y="4030216"/>
            <a:ext cx="2264151" cy="157108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Job Function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grpSp>
        <p:nvGrpSpPr>
          <p:cNvPr id="513" name="Group 512"/>
          <p:cNvGrpSpPr/>
          <p:nvPr/>
        </p:nvGrpSpPr>
        <p:grpSpPr>
          <a:xfrm>
            <a:off x="4653673" y="4391236"/>
            <a:ext cx="1391480" cy="1099258"/>
            <a:chOff x="2970278" y="4652458"/>
            <a:chExt cx="864000" cy="1209184"/>
          </a:xfrm>
        </p:grpSpPr>
        <p:sp>
          <p:nvSpPr>
            <p:cNvPr id="514" name="Rechteck 202"/>
            <p:cNvSpPr/>
            <p:nvPr/>
          </p:nvSpPr>
          <p:spPr bwMode="gray">
            <a:xfrm>
              <a:off x="2970278" y="4652458"/>
              <a:ext cx="864000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15" name="Rechteck 205"/>
            <p:cNvSpPr/>
            <p:nvPr/>
          </p:nvSpPr>
          <p:spPr bwMode="gray">
            <a:xfrm>
              <a:off x="2970278" y="4927754"/>
              <a:ext cx="776461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16" name="Rechteck 206"/>
            <p:cNvSpPr/>
            <p:nvPr/>
          </p:nvSpPr>
          <p:spPr bwMode="gray">
            <a:xfrm>
              <a:off x="2970278" y="5203050"/>
              <a:ext cx="560643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17" name="Rechteck 207"/>
            <p:cNvSpPr/>
            <p:nvPr/>
          </p:nvSpPr>
          <p:spPr bwMode="gray">
            <a:xfrm>
              <a:off x="2970278" y="5478346"/>
              <a:ext cx="520386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18" name="Rechteck 208"/>
            <p:cNvSpPr/>
            <p:nvPr/>
          </p:nvSpPr>
          <p:spPr bwMode="gray">
            <a:xfrm>
              <a:off x="2970279" y="5753642"/>
              <a:ext cx="303499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519" name="Textfeld 219"/>
          <p:cNvSpPr txBox="1"/>
          <p:nvPr/>
        </p:nvSpPr>
        <p:spPr bwMode="gray">
          <a:xfrm>
            <a:off x="3949665" y="4391236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Staff</a:t>
            </a:r>
          </a:p>
        </p:txBody>
      </p:sp>
      <p:sp>
        <p:nvSpPr>
          <p:cNvPr id="520" name="Textfeld 220"/>
          <p:cNvSpPr txBox="1"/>
          <p:nvPr/>
        </p:nvSpPr>
        <p:spPr bwMode="gray">
          <a:xfrm>
            <a:off x="3949665" y="4641505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Managers</a:t>
            </a:r>
          </a:p>
        </p:txBody>
      </p:sp>
      <p:sp>
        <p:nvSpPr>
          <p:cNvPr id="521" name="Textfeld 221"/>
          <p:cNvSpPr txBox="1"/>
          <p:nvPr/>
        </p:nvSpPr>
        <p:spPr bwMode="gray">
          <a:xfrm>
            <a:off x="3949665" y="487909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Directors</a:t>
            </a:r>
          </a:p>
        </p:txBody>
      </p:sp>
      <p:sp>
        <p:nvSpPr>
          <p:cNvPr id="522" name="Textfeld 222"/>
          <p:cNvSpPr txBox="1"/>
          <p:nvPr/>
        </p:nvSpPr>
        <p:spPr bwMode="gray">
          <a:xfrm>
            <a:off x="3949665" y="512936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Executives</a:t>
            </a:r>
          </a:p>
        </p:txBody>
      </p:sp>
      <p:sp>
        <p:nvSpPr>
          <p:cNvPr id="523" name="Textfeld 223"/>
          <p:cNvSpPr txBox="1"/>
          <p:nvPr/>
        </p:nvSpPr>
        <p:spPr bwMode="gray">
          <a:xfrm>
            <a:off x="3949665" y="5392313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>
                <a:solidFill>
                  <a:srgbClr val="7D7D7D"/>
                </a:solidFill>
              </a:rPr>
              <a:t>Board</a:t>
            </a:r>
          </a:p>
        </p:txBody>
      </p:sp>
      <p:sp>
        <p:nvSpPr>
          <p:cNvPr id="5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860211" y="4030216"/>
            <a:ext cx="2264151" cy="157108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Leve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grpSp>
        <p:nvGrpSpPr>
          <p:cNvPr id="525" name="Group 524"/>
          <p:cNvGrpSpPr/>
          <p:nvPr/>
        </p:nvGrpSpPr>
        <p:grpSpPr>
          <a:xfrm>
            <a:off x="7188995" y="4391236"/>
            <a:ext cx="1391480" cy="1099258"/>
            <a:chOff x="2970278" y="4652458"/>
            <a:chExt cx="864000" cy="1209184"/>
          </a:xfrm>
        </p:grpSpPr>
        <p:sp>
          <p:nvSpPr>
            <p:cNvPr id="526" name="Rechteck 202"/>
            <p:cNvSpPr/>
            <p:nvPr/>
          </p:nvSpPr>
          <p:spPr bwMode="gray">
            <a:xfrm>
              <a:off x="2970278" y="4652458"/>
              <a:ext cx="864000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27" name="Rechteck 205"/>
            <p:cNvSpPr/>
            <p:nvPr/>
          </p:nvSpPr>
          <p:spPr bwMode="gray">
            <a:xfrm>
              <a:off x="2970278" y="4927754"/>
              <a:ext cx="776461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28" name="Rechteck 206"/>
            <p:cNvSpPr/>
            <p:nvPr/>
          </p:nvSpPr>
          <p:spPr bwMode="gray">
            <a:xfrm>
              <a:off x="2970278" y="5203050"/>
              <a:ext cx="560643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29" name="Rechteck 207"/>
            <p:cNvSpPr/>
            <p:nvPr/>
          </p:nvSpPr>
          <p:spPr bwMode="gray">
            <a:xfrm>
              <a:off x="2970278" y="5478346"/>
              <a:ext cx="520386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30" name="Rechteck 208"/>
            <p:cNvSpPr/>
            <p:nvPr/>
          </p:nvSpPr>
          <p:spPr bwMode="gray">
            <a:xfrm>
              <a:off x="2970279" y="5753642"/>
              <a:ext cx="303499" cy="108000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52000">
                  <a:schemeClr val="accent1"/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76200" dist="25400" dir="5400000" algn="tl" rotWithShape="0">
                <a:prstClr val="black">
                  <a:alpha val="30000"/>
                </a:prstClr>
              </a:outerShdw>
            </a:effectLst>
          </p:spPr>
          <p:txBody>
            <a:bodyPr lIns="36000" rIns="36000" rtlCol="0" anchor="ctr"/>
            <a:lstStyle/>
            <a:p>
              <a:pPr algn="ctr"/>
              <a:endParaRPr lang="de-DE" sz="1050" spc="-15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531" name="Textfeld 219"/>
          <p:cNvSpPr txBox="1"/>
          <p:nvPr/>
        </p:nvSpPr>
        <p:spPr bwMode="gray">
          <a:xfrm>
            <a:off x="6484987" y="4391236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HCMC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532" name="Textfeld 220"/>
          <p:cNvSpPr txBox="1"/>
          <p:nvPr/>
        </p:nvSpPr>
        <p:spPr bwMode="gray">
          <a:xfrm>
            <a:off x="6484987" y="4641505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Hanoi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533" name="Textfeld 221"/>
          <p:cNvSpPr txBox="1"/>
          <p:nvPr/>
        </p:nvSpPr>
        <p:spPr bwMode="gray">
          <a:xfrm>
            <a:off x="6484987" y="487909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Binh Duong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534" name="Textfeld 222"/>
          <p:cNvSpPr txBox="1"/>
          <p:nvPr/>
        </p:nvSpPr>
        <p:spPr bwMode="gray">
          <a:xfrm>
            <a:off x="6484987" y="5129364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Danang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535" name="Textfeld 223"/>
          <p:cNvSpPr txBox="1"/>
          <p:nvPr/>
        </p:nvSpPr>
        <p:spPr bwMode="gray">
          <a:xfrm>
            <a:off x="6484987" y="5392313"/>
            <a:ext cx="1110335" cy="98182"/>
          </a:xfrm>
          <a:prstGeom prst="rect">
            <a:avLst/>
          </a:prstGeom>
          <a:noFill/>
        </p:spPr>
        <p:txBody>
          <a:bodyPr wrap="square" lIns="72000" tIns="0" rIns="72000" bIns="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de-DE" sz="600" b="1" dirty="0" smtClean="0">
                <a:solidFill>
                  <a:srgbClr val="7D7D7D"/>
                </a:solidFill>
              </a:rPr>
              <a:t>Hue</a:t>
            </a:r>
            <a:endParaRPr lang="de-DE" sz="600" b="1" dirty="0">
              <a:solidFill>
                <a:srgbClr val="7D7D7D"/>
              </a:solidFill>
            </a:endParaRPr>
          </a:p>
        </p:txBody>
      </p:sp>
      <p:sp>
        <p:nvSpPr>
          <p:cNvPr id="5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5533" y="4030216"/>
            <a:ext cx="2264151" cy="1571084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Location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grpSp>
        <p:nvGrpSpPr>
          <p:cNvPr id="537" name="Group 536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53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39" name="Group 538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540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1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2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3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4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5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6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7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8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9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0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1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2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53" name="Group 552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55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55" name="Group 554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556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7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8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9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0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1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2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63" name="Group 562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56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65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566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7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8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9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0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1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2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3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4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5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6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7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8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9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0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1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2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3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4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5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6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7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8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9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0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1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2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3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4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5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6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7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8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9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0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1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2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3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4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3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4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5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9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0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1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2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3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4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5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6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8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9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0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1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2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3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3230366" y="1149896"/>
            <a:ext cx="2158874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3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298218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0688" y="1131672"/>
            <a:ext cx="8928100" cy="654968"/>
          </a:xfrm>
        </p:spPr>
        <p:txBody>
          <a:bodyPr/>
          <a:lstStyle/>
          <a:p>
            <a:r>
              <a:rPr lang="en-US" dirty="0" smtClean="0"/>
              <a:t>Sitemap</a:t>
            </a:r>
            <a:endParaRPr lang="en-US" b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D5A39AF-FEF5-47AB-AA80-4C0BD4A8B092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0645" y="1163135"/>
            <a:ext cx="4896544" cy="5958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22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20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3. LIST OPTIONS</a:t>
              </a: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2. PERSON CRITERIA</a:t>
              </a: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1. COMPANY CRITERIA</a:t>
              </a: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3. LIST OPTIONS</a:t>
            </a: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-1882559" y="1785533"/>
            <a:ext cx="1871199" cy="2313653"/>
            <a:chOff x="-1882559" y="1785533"/>
            <a:chExt cx="1871199" cy="2313653"/>
          </a:xfrm>
        </p:grpSpPr>
        <p:sp>
          <p:nvSpPr>
            <p:cNvPr id="17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1785533"/>
              <a:ext cx="1871199" cy="287643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INPUT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7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2056636"/>
              <a:ext cx="1871199" cy="2042550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t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List of person attribu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Details break-down of each attributes</a:t>
              </a:r>
              <a:endParaRPr kumimoji="1" lang="en-US" altLang="ja-JP" sz="105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1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2066283"/>
            <a:ext cx="5699518" cy="2614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50" b="1" dirty="0" smtClean="0">
                <a:solidFill>
                  <a:schemeClr val="accent5"/>
                </a:solidFill>
              </a:rPr>
              <a:t>Maximum number of leads per company</a:t>
            </a:r>
            <a:endParaRPr kumimoji="1" lang="en-US" altLang="ja-JP" sz="1050" b="1" dirty="0">
              <a:solidFill>
                <a:schemeClr val="accent5"/>
              </a:solidFill>
            </a:endParaRPr>
          </a:p>
        </p:txBody>
      </p:sp>
      <p:sp>
        <p:nvSpPr>
          <p:cNvPr id="17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727320" y="2482472"/>
            <a:ext cx="4556835" cy="348048"/>
          </a:xfrm>
          <a:prstGeom prst="round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dirty="0" smtClean="0">
                <a:solidFill>
                  <a:schemeClr val="accent5"/>
                </a:solidFill>
              </a:rPr>
              <a:t>xx</a:t>
            </a:r>
            <a:endParaRPr kumimoji="1" lang="en-US" altLang="ja-JP" sz="1200" dirty="0">
              <a:solidFill>
                <a:schemeClr val="accent5"/>
              </a:solidFill>
            </a:endParaRPr>
          </a:p>
        </p:txBody>
      </p:sp>
      <p:sp>
        <p:nvSpPr>
          <p:cNvPr id="17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2971271"/>
            <a:ext cx="5699518" cy="3164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50" b="1" dirty="0" err="1" smtClean="0">
                <a:solidFill>
                  <a:schemeClr val="accent5"/>
                </a:solidFill>
              </a:rPr>
              <a:t>Vintello</a:t>
            </a:r>
            <a:r>
              <a:rPr kumimoji="1" lang="en-US" altLang="ja-JP" sz="1050" b="1" dirty="0" smtClean="0">
                <a:solidFill>
                  <a:schemeClr val="accent5"/>
                </a:solidFill>
              </a:rPr>
              <a:t> will search for up to </a:t>
            </a:r>
            <a:r>
              <a:rPr kumimoji="1" lang="en-US" altLang="ja-JP" sz="1050" b="1" dirty="0" err="1" smtClean="0">
                <a:solidFill>
                  <a:schemeClr val="accent5"/>
                </a:solidFill>
              </a:rPr>
              <a:t>xxx,xxx</a:t>
            </a:r>
            <a:r>
              <a:rPr kumimoji="1" lang="en-US" altLang="ja-JP" sz="1050" b="1" dirty="0" smtClean="0">
                <a:solidFill>
                  <a:schemeClr val="accent5"/>
                </a:solidFill>
              </a:rPr>
              <a:t> leads in total. Would you like to limit this numbers?</a:t>
            </a:r>
            <a:endParaRPr kumimoji="1" lang="en-US" altLang="ja-JP" sz="1050" b="1" dirty="0">
              <a:solidFill>
                <a:schemeClr val="accent5"/>
              </a:solidFill>
            </a:endParaRPr>
          </a:p>
        </p:txBody>
      </p:sp>
      <p:cxnSp>
        <p:nvCxnSpPr>
          <p:cNvPr id="176" name="Straight Connector 175"/>
          <p:cNvCxnSpPr/>
          <p:nvPr/>
        </p:nvCxnSpPr>
        <p:spPr>
          <a:xfrm>
            <a:off x="1401900" y="3547325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49931" y="3360372"/>
            <a:ext cx="2587181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No, return as many as possibl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78" name="Rounded Rectangle 177"/>
          <p:cNvSpPr/>
          <p:nvPr/>
        </p:nvSpPr>
        <p:spPr>
          <a:xfrm rot="10800000">
            <a:off x="1396655" y="3360403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179" name="Straight Connector 178"/>
          <p:cNvCxnSpPr/>
          <p:nvPr/>
        </p:nvCxnSpPr>
        <p:spPr>
          <a:xfrm>
            <a:off x="1401900" y="3772774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49931" y="3585821"/>
            <a:ext cx="2587181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Yes, limit the number of leads in the list to: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81" name="Rounded Rectangle 180"/>
          <p:cNvSpPr/>
          <p:nvPr/>
        </p:nvSpPr>
        <p:spPr>
          <a:xfrm rot="10800000">
            <a:off x="1396655" y="3585852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182" name="Rounded Rectangle 181"/>
          <p:cNvSpPr/>
          <p:nvPr/>
        </p:nvSpPr>
        <p:spPr>
          <a:xfrm>
            <a:off x="4104616" y="3585852"/>
            <a:ext cx="697039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1050" dirty="0" err="1" smtClean="0"/>
              <a:t>Xxx,xxx</a:t>
            </a:r>
            <a:endParaRPr lang="en-US" sz="1050" dirty="0" smtClean="0"/>
          </a:p>
        </p:txBody>
      </p:sp>
      <p:sp>
        <p:nvSpPr>
          <p:cNvPr id="18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3874496"/>
            <a:ext cx="5699518" cy="2614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50" b="1" dirty="0" smtClean="0">
                <a:solidFill>
                  <a:schemeClr val="accent5"/>
                </a:solidFill>
              </a:rPr>
              <a:t>Quality vs. Quantity</a:t>
            </a:r>
            <a:endParaRPr kumimoji="1" lang="en-US" altLang="ja-JP" sz="1050" b="1" dirty="0">
              <a:solidFill>
                <a:schemeClr val="accent5"/>
              </a:solidFill>
            </a:endParaRPr>
          </a:p>
        </p:txBody>
      </p:sp>
      <p:cxnSp>
        <p:nvCxnSpPr>
          <p:cNvPr id="191" name="Straight Connector 190"/>
          <p:cNvCxnSpPr/>
          <p:nvPr/>
        </p:nvCxnSpPr>
        <p:spPr>
          <a:xfrm>
            <a:off x="1562373" y="4336988"/>
            <a:ext cx="260273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12776" y="4389746"/>
            <a:ext cx="749414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chemeClr val="accent5"/>
                </a:solidFill>
              </a:rPr>
              <a:t>Quantity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9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502386" y="4389746"/>
            <a:ext cx="749414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chemeClr val="accent5"/>
                </a:solidFill>
              </a:rPr>
              <a:t>Balanced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9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790397" y="4389746"/>
            <a:ext cx="749414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chemeClr val="accent5"/>
                </a:solidFill>
              </a:rPr>
              <a:t>Quality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9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58070" y="4157298"/>
            <a:ext cx="3443538" cy="52228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err="1" smtClean="0">
                <a:solidFill>
                  <a:schemeClr val="accent5"/>
                </a:solidFill>
              </a:rPr>
              <a:t>Explaination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 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19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4696295"/>
            <a:ext cx="5699518" cy="2614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50" b="1" dirty="0" smtClean="0">
                <a:solidFill>
                  <a:schemeClr val="accent5"/>
                </a:solidFill>
              </a:rPr>
              <a:t>Lead Suppression</a:t>
            </a:r>
            <a:endParaRPr kumimoji="1" lang="en-US" altLang="ja-JP" sz="1050" b="1" dirty="0">
              <a:solidFill>
                <a:schemeClr val="accent5"/>
              </a:solidFill>
            </a:endParaRPr>
          </a:p>
        </p:txBody>
      </p:sp>
      <p:cxnSp>
        <p:nvCxnSpPr>
          <p:cNvPr id="203" name="Straight Connector 202"/>
          <p:cNvCxnSpPr/>
          <p:nvPr/>
        </p:nvCxnSpPr>
        <p:spPr>
          <a:xfrm>
            <a:off x="1401900" y="5211367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49931" y="5024414"/>
            <a:ext cx="2587181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Upload a suppression list (.CVS file)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05" name="Rounded Rectangle 204"/>
          <p:cNvSpPr/>
          <p:nvPr/>
        </p:nvSpPr>
        <p:spPr>
          <a:xfrm rot="10800000">
            <a:off x="1396655" y="5024445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206" name="Straight Connector 205"/>
          <p:cNvCxnSpPr/>
          <p:nvPr/>
        </p:nvCxnSpPr>
        <p:spPr>
          <a:xfrm>
            <a:off x="1401900" y="5436816"/>
            <a:ext cx="346423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49931" y="5249863"/>
            <a:ext cx="2587181" cy="1512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Do not use a suppression leads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08" name="Rounded Rectangle 207"/>
          <p:cNvSpPr/>
          <p:nvPr/>
        </p:nvSpPr>
        <p:spPr>
          <a:xfrm rot="10800000">
            <a:off x="1396655" y="5249894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1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58070" y="4978747"/>
            <a:ext cx="3443538" cy="52228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err="1" smtClean="0">
                <a:solidFill>
                  <a:schemeClr val="accent5"/>
                </a:solidFill>
              </a:rPr>
              <a:t>Explaination</a:t>
            </a:r>
            <a:r>
              <a:rPr kumimoji="1" lang="en-US" altLang="ja-JP" sz="1000" dirty="0" smtClean="0">
                <a:solidFill>
                  <a:schemeClr val="accent5"/>
                </a:solidFill>
              </a:rPr>
              <a:t> 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21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21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52" name="Group 551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553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4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5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6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7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8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9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0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1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2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3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4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5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6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7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8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9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0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1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2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3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4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5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6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7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8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79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0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1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2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3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4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5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6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7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8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9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0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1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2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3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4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5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6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7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8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9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0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1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2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3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4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85" name="Group 284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28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287" name="Group 286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288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9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0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1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2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3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4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5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6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7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8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9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0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01" name="Group 300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30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03" name="Group 302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304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5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6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7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0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11" name="Group 310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31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13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314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5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6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7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8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9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0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1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2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3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5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6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8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9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0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1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2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3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4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5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6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7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8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9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1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3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4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5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6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7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8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9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0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1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2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3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4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5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6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7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8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9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0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1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2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3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4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5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6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7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8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9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0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1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3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4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5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3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4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5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6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7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8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9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0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1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2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3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4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5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6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7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8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9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0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1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2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3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4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5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6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7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8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9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0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1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2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3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4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5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6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7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8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9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0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1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2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3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4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5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6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7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8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3149119" y="1149896"/>
            <a:ext cx="1106426" cy="21602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028634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21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4. FINAL REVIEW</a:t>
              </a: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3. LIST OPTIONS</a:t>
              </a: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2. PERSON CRITERIA</a:t>
              </a: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1. COMPANY CRITERIA</a:t>
              </a: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4. FINAL REVIEW</a:t>
            </a: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-1882559" y="1785533"/>
            <a:ext cx="1871199" cy="2313653"/>
            <a:chOff x="-1882559" y="1785533"/>
            <a:chExt cx="1871199" cy="2313653"/>
          </a:xfrm>
        </p:grpSpPr>
        <p:sp>
          <p:nvSpPr>
            <p:cNvPr id="17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1785533"/>
              <a:ext cx="1871199" cy="287643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INPUT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7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2056636"/>
              <a:ext cx="1871199" cy="2042550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t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List of person attribu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Details break-down of each attributes</a:t>
              </a:r>
              <a:endParaRPr kumimoji="1" lang="en-US" altLang="ja-JP" sz="105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69320" y="2238446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47" name="Textfeld 280"/>
          <p:cNvSpPr txBox="1"/>
          <p:nvPr/>
        </p:nvSpPr>
        <p:spPr bwMode="gray">
          <a:xfrm>
            <a:off x="1294559" y="3124131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No. Of companies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53" name="Textfeld 280"/>
          <p:cNvSpPr txBox="1"/>
          <p:nvPr/>
        </p:nvSpPr>
        <p:spPr bwMode="gray">
          <a:xfrm>
            <a:off x="1294559" y="3517743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Xxx,xxx companies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64623" y="2238446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57" name="Textfeld 280"/>
          <p:cNvSpPr txBox="1"/>
          <p:nvPr/>
        </p:nvSpPr>
        <p:spPr bwMode="gray">
          <a:xfrm>
            <a:off x="3189862" y="3124131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Selected Ideal Person Profile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58" name="Textfeld 280"/>
          <p:cNvSpPr txBox="1"/>
          <p:nvPr/>
        </p:nvSpPr>
        <p:spPr bwMode="gray">
          <a:xfrm>
            <a:off x="3189862" y="3517743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Marketing, VP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48852" y="2238446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61" name="Textfeld 280"/>
          <p:cNvSpPr txBox="1"/>
          <p:nvPr/>
        </p:nvSpPr>
        <p:spPr bwMode="gray">
          <a:xfrm>
            <a:off x="5074091" y="3124131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Person Location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62" name="Textfeld 280"/>
          <p:cNvSpPr txBox="1"/>
          <p:nvPr/>
        </p:nvSpPr>
        <p:spPr bwMode="gray">
          <a:xfrm>
            <a:off x="5074091" y="3517743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HCMC, Hanoi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6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9940" y="2238446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65" name="Textfeld 280"/>
          <p:cNvSpPr txBox="1"/>
          <p:nvPr/>
        </p:nvSpPr>
        <p:spPr bwMode="gray">
          <a:xfrm>
            <a:off x="6995179" y="3124131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Mandatory contact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66" name="Textfeld 280"/>
          <p:cNvSpPr txBox="1"/>
          <p:nvPr/>
        </p:nvSpPr>
        <p:spPr bwMode="gray">
          <a:xfrm>
            <a:off x="6995179" y="3517743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Email, Phone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8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69320" y="4033110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83" name="Textfeld 280"/>
          <p:cNvSpPr txBox="1"/>
          <p:nvPr/>
        </p:nvSpPr>
        <p:spPr bwMode="gray">
          <a:xfrm>
            <a:off x="1294559" y="4918795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Quality vs. Quantity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84" name="Textfeld 280"/>
          <p:cNvSpPr txBox="1"/>
          <p:nvPr/>
        </p:nvSpPr>
        <p:spPr bwMode="gray">
          <a:xfrm>
            <a:off x="1294559" y="5312407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Balanced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7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64623" y="4033110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80" name="Textfeld 280"/>
          <p:cNvSpPr txBox="1"/>
          <p:nvPr/>
        </p:nvSpPr>
        <p:spPr bwMode="gray">
          <a:xfrm>
            <a:off x="3189862" y="4918795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List Size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81" name="Textfeld 280"/>
          <p:cNvSpPr txBox="1"/>
          <p:nvPr/>
        </p:nvSpPr>
        <p:spPr bwMode="gray">
          <a:xfrm>
            <a:off x="3189862" y="5312407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Up to xxx,xxx leads, maximum 5 leads per company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48852" y="4033110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77" name="Textfeld 280"/>
          <p:cNvSpPr txBox="1"/>
          <p:nvPr/>
        </p:nvSpPr>
        <p:spPr bwMode="gray">
          <a:xfrm>
            <a:off x="5074091" y="4918795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Lead Suppression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78" name="Textfeld 280"/>
          <p:cNvSpPr txBox="1"/>
          <p:nvPr/>
        </p:nvSpPr>
        <p:spPr bwMode="gray">
          <a:xfrm>
            <a:off x="5074091" y="5312407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None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7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69940" y="4033110"/>
            <a:ext cx="1776860" cy="1321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74" name="Textfeld 280"/>
          <p:cNvSpPr txBox="1"/>
          <p:nvPr/>
        </p:nvSpPr>
        <p:spPr bwMode="gray">
          <a:xfrm>
            <a:off x="6995179" y="4918795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b="1" dirty="0" smtClean="0">
                <a:solidFill>
                  <a:schemeClr val="accent5"/>
                </a:solidFill>
              </a:rPr>
              <a:t>Credits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75" name="Textfeld 280"/>
          <p:cNvSpPr txBox="1"/>
          <p:nvPr/>
        </p:nvSpPr>
        <p:spPr bwMode="gray">
          <a:xfrm>
            <a:off x="6995179" y="5312407"/>
            <a:ext cx="1726381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1100" dirty="0" smtClean="0">
                <a:solidFill>
                  <a:schemeClr val="accent5"/>
                </a:solidFill>
              </a:rPr>
              <a:t>Up to xxx,xxx credit will be deducted for this list</a:t>
            </a:r>
            <a:endParaRPr lang="de-DE" sz="1050" dirty="0" smtClean="0">
              <a:solidFill>
                <a:schemeClr val="accent5"/>
              </a:solidFill>
            </a:endParaRP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8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300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1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2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3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4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5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6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7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8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2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3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4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5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6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7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8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9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0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1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2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3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5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6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8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9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0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1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2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3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4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5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6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7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8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9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1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356" name="Picture 3" descr="C:\Users\jsauvageau\Desktop\4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49" y="2472850"/>
            <a:ext cx="1086545" cy="672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7" name="Picture 12" descr="C:\Users\jsauvageau\Desktop\4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8355" y="2416832"/>
            <a:ext cx="972551" cy="728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" name="Picture 5" descr="C:\Users\jsauvageau\Desktop\5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166" y="2271186"/>
            <a:ext cx="738632" cy="873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9" name="Picture 23" descr="C:\Users\jsauvageau\Desktop\4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743" y="2484054"/>
            <a:ext cx="681074" cy="661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0" name="Picture 2" descr="C:\Users\jsauvageau\Desktop\4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6661" y="4149646"/>
            <a:ext cx="831142" cy="77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1" name="Picture 13" descr="C:\Users\jsauvageau\Desktop\3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772" y="4300634"/>
            <a:ext cx="767652" cy="62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2" name="Picture 11" descr="C:\Users\jsauvageau\Desktop\1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888" y="4276825"/>
            <a:ext cx="852785" cy="64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6" name="Picture 2" descr="\\Cagmasrv1\sso$\Gestion_Deloitte\Global_Brand\- Templates\Icons\Iconography Deloitte\Icon_Chip_and_PIN_card_LBlue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711" y="4384661"/>
            <a:ext cx="848049" cy="53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7" name="Group 366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36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69" name="Group 368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370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1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2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3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4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5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6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7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8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9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0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1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2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83" name="Group 382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38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85" name="Group 384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386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7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8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9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0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1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2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93" name="Group 392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39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95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396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7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8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9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0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1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2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3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4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5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6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7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8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9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0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1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2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3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4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5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6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7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8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9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0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1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2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3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4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5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6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7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8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9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0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1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2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3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4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5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6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7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8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9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0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1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2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3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4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5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6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7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8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9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0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1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2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3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4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5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6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7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8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9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0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1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2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3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4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5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6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7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8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9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0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1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2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3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4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5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6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7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8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9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0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1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2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3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4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5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6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7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8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9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0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1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2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3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4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5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6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7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8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9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0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1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2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3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4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5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6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7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8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9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0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1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2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3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4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5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6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7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8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9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0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1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2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3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4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5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6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7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8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9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0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1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2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3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4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5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6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7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8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9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0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1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2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3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4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5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6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7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8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9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0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1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2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3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3705593" y="1149896"/>
            <a:ext cx="1210650" cy="21602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214574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22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4. FINAL REVIEW</a:t>
              </a: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3. LIST OPTIONS</a:t>
              </a: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2. PERSON CRITERIA</a:t>
              </a: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>
                  <a:solidFill>
                    <a:schemeClr val="accent5"/>
                  </a:solidFill>
                </a:rPr>
                <a:t>1. COMPANY CRITERIA</a:t>
              </a: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SUBMI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4. FINAL REVIEW</a:t>
            </a: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2. PERSON CRITERIA</a:t>
            </a: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accent5"/>
                </a:solidFill>
              </a:rPr>
              <a:t>1. COMPANY CRITERIA</a:t>
            </a: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-1882559" y="1785533"/>
            <a:ext cx="1871199" cy="2313653"/>
            <a:chOff x="-1882559" y="1785533"/>
            <a:chExt cx="1871199" cy="2313653"/>
          </a:xfrm>
        </p:grpSpPr>
        <p:sp>
          <p:nvSpPr>
            <p:cNvPr id="17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1785533"/>
              <a:ext cx="1871199" cy="287643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INPUT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7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2056636"/>
              <a:ext cx="1871199" cy="2042550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t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List of person attribu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Details break-down of each attributes</a:t>
              </a:r>
              <a:endParaRPr kumimoji="1" lang="en-US" altLang="ja-JP" sz="105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8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300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1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2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3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4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5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6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7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8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9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0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1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2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3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4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5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6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7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8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9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0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1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2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3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5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6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8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9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0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1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2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3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4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5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6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7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8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9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1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56" name="Group 355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35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58" name="Group 357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359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0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1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2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3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4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5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6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7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8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9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0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1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72" name="Group 371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37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74" name="Group 373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375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6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7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8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9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0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1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82" name="Group 381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38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84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385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6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7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8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9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0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1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2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3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4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5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6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7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8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9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0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1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2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3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4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5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6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7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8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9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0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1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2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3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4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5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6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7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8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9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0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1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2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3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4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5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6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7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8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9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0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1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2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3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4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5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6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7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8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9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0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1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2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3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4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5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6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7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8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9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0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1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2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3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4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5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6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7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8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9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0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1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2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3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4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5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6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7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8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9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0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1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2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3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4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5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6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7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8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9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0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1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2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3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4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5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6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7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8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9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0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1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2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3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4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5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6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7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8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9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0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1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2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3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4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5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6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7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8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9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0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1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2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3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4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5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6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7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8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9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0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1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2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3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4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5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6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7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8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9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0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1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2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3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4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5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6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7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8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9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0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1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2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5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85110" y="2158008"/>
            <a:ext cx="1701090" cy="866919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Total Selected Compan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54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13428" y="2158008"/>
            <a:ext cx="1701090" cy="866919"/>
          </a:xfrm>
          <a:prstGeom prst="rect">
            <a:avLst/>
          </a:prstGeom>
          <a:noFill/>
          <a:ln w="63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people in selected compani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5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62433" y="2446040"/>
            <a:ext cx="1546445" cy="56053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companies</a:t>
            </a:r>
          </a:p>
          <a:p>
            <a:pPr algn="ctr"/>
            <a:r>
              <a:rPr kumimoji="1" lang="en-US" altLang="ja-JP" sz="2800" b="1" dirty="0" smtClean="0">
                <a:solidFill>
                  <a:schemeClr val="accent5"/>
                </a:solidFill>
              </a:rPr>
              <a:t>123,435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5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31" y="2446040"/>
            <a:ext cx="1546445" cy="56053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# of people</a:t>
            </a:r>
          </a:p>
          <a:p>
            <a:pPr algn="ctr"/>
            <a:r>
              <a:rPr kumimoji="1" lang="en-US" altLang="ja-JP" sz="2800" b="1" dirty="0" smtClean="0">
                <a:solidFill>
                  <a:schemeClr val="accent5"/>
                </a:solidFill>
              </a:rPr>
              <a:t>234,435</a:t>
            </a:r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356792" y="4678288"/>
            <a:ext cx="7337540" cy="1103185"/>
            <a:chOff x="3239418" y="2290980"/>
            <a:chExt cx="5512803" cy="1103185"/>
          </a:xfrm>
        </p:grpSpPr>
        <p:sp>
          <p:nvSpPr>
            <p:cNvPr id="57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39418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cxnSp>
          <p:nvCxnSpPr>
            <p:cNvPr id="578" name="Straight Connector 577"/>
            <p:cNvCxnSpPr/>
            <p:nvPr/>
          </p:nvCxnSpPr>
          <p:spPr>
            <a:xfrm>
              <a:off x="3312458" y="2901050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9" name="Straight Connector 578"/>
            <p:cNvCxnSpPr/>
            <p:nvPr/>
          </p:nvCxnSpPr>
          <p:spPr>
            <a:xfrm>
              <a:off x="3312458" y="3147608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/>
            <p:cNvCxnSpPr/>
            <p:nvPr/>
          </p:nvCxnSpPr>
          <p:spPr>
            <a:xfrm>
              <a:off x="3312458" y="3394165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/>
            <p:cNvCxnSpPr/>
            <p:nvPr/>
          </p:nvCxnSpPr>
          <p:spPr>
            <a:xfrm>
              <a:off x="3312458" y="2686783"/>
              <a:ext cx="533639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5522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Employees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07726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Est. year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063795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Industry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83834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Revenu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879293" y="2290980"/>
              <a:ext cx="872928" cy="22154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Profit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39418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5522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8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07726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1990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063795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Real Estat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83834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$x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879293" y="2707799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$x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39418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5522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07726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1990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063795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Real Estat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83834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$x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879293" y="2950901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$x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59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239418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Nam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0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175522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0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07726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1990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0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063795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Real Estate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0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83834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$x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  <p:sp>
          <p:nvSpPr>
            <p:cNvPr id="60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879293" y="3177614"/>
              <a:ext cx="872928" cy="183095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800" dirty="0" smtClean="0">
                  <a:solidFill>
                    <a:schemeClr val="accent5"/>
                  </a:solidFill>
                </a:rPr>
                <a:t>$xxx</a:t>
              </a:r>
              <a:endParaRPr kumimoji="1" lang="en-US" altLang="ja-JP" sz="80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60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853571" y="3238128"/>
            <a:ext cx="1213619" cy="902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606" name="Textfeld 280"/>
          <p:cNvSpPr txBox="1"/>
          <p:nvPr/>
        </p:nvSpPr>
        <p:spPr bwMode="gray">
          <a:xfrm>
            <a:off x="1870810" y="3843062"/>
            <a:ext cx="1179141" cy="211694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Sync to CRM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sp>
        <p:nvSpPr>
          <p:cNvPr id="60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8088" y="3238128"/>
            <a:ext cx="1213619" cy="902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608" name="Textfeld 280"/>
          <p:cNvSpPr txBox="1"/>
          <p:nvPr/>
        </p:nvSpPr>
        <p:spPr bwMode="gray">
          <a:xfrm>
            <a:off x="3165327" y="3843062"/>
            <a:ext cx="1179141" cy="211694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Sync to Linkedin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sp>
        <p:nvSpPr>
          <p:cNvPr id="60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435042" y="3238128"/>
            <a:ext cx="1213619" cy="902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610" name="Textfeld 280"/>
          <p:cNvSpPr txBox="1"/>
          <p:nvPr/>
        </p:nvSpPr>
        <p:spPr bwMode="gray">
          <a:xfrm>
            <a:off x="4452281" y="3843062"/>
            <a:ext cx="1179141" cy="211694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Sync to Facebook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sp>
        <p:nvSpPr>
          <p:cNvPr id="61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747171" y="3238128"/>
            <a:ext cx="1213619" cy="902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612" name="Textfeld 280"/>
          <p:cNvSpPr txBox="1"/>
          <p:nvPr/>
        </p:nvSpPr>
        <p:spPr bwMode="gray">
          <a:xfrm>
            <a:off x="5764409" y="3843062"/>
            <a:ext cx="1179141" cy="211694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Export to Excel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sp>
        <p:nvSpPr>
          <p:cNvPr id="6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055941" y="3238128"/>
            <a:ext cx="1213619" cy="902748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800" b="1" dirty="0">
              <a:solidFill>
                <a:schemeClr val="accent5"/>
              </a:solidFill>
            </a:endParaRPr>
          </a:p>
        </p:txBody>
      </p:sp>
      <p:sp>
        <p:nvSpPr>
          <p:cNvPr id="618" name="Textfeld 280"/>
          <p:cNvSpPr txBox="1"/>
          <p:nvPr/>
        </p:nvSpPr>
        <p:spPr bwMode="gray">
          <a:xfrm>
            <a:off x="7073179" y="3843062"/>
            <a:ext cx="1179141" cy="211694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Deploy with SRD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pic>
        <p:nvPicPr>
          <p:cNvPr id="1026" name="Picture 2" descr="Image result for crm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955" y="3354968"/>
            <a:ext cx="776950" cy="455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linkedi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7188" y="3325166"/>
            <a:ext cx="514848" cy="514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facebook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023" y="3310136"/>
            <a:ext cx="726545" cy="544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excel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0881" y="3325617"/>
            <a:ext cx="513946" cy="513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sales development representative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30906" y="3348978"/>
            <a:ext cx="494505" cy="467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3" name="Rounded Rectangle 542"/>
          <p:cNvSpPr/>
          <p:nvPr/>
        </p:nvSpPr>
        <p:spPr>
          <a:xfrm rot="10800000">
            <a:off x="2379022" y="423899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546" name="Rounded Rectangle 545"/>
          <p:cNvSpPr/>
          <p:nvPr/>
        </p:nvSpPr>
        <p:spPr>
          <a:xfrm rot="10800000">
            <a:off x="3646727" y="423899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549" name="Rounded Rectangle 548"/>
          <p:cNvSpPr/>
          <p:nvPr/>
        </p:nvSpPr>
        <p:spPr>
          <a:xfrm rot="10800000">
            <a:off x="4931342" y="423899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550" name="Rounded Rectangle 549"/>
          <p:cNvSpPr/>
          <p:nvPr/>
        </p:nvSpPr>
        <p:spPr>
          <a:xfrm rot="10800000">
            <a:off x="6296399" y="423899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551" name="Rounded Rectangle 550"/>
          <p:cNvSpPr/>
          <p:nvPr/>
        </p:nvSpPr>
        <p:spPr>
          <a:xfrm rot="10800000">
            <a:off x="7532465" y="4238997"/>
            <a:ext cx="201906" cy="151258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" name="Rectangle 1"/>
          <p:cNvSpPr/>
          <p:nvPr/>
        </p:nvSpPr>
        <p:spPr>
          <a:xfrm>
            <a:off x="4255545" y="1149896"/>
            <a:ext cx="1277711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455979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1FEC9492-972F-4E29-940A-75CF2C3B49DD}"/>
              </a:ext>
            </a:extLst>
          </p:cNvPr>
          <p:cNvCxnSpPr>
            <a:cxnSpLocks/>
          </p:cNvCxnSpPr>
          <p:nvPr/>
        </p:nvCxnSpPr>
        <p:spPr>
          <a:xfrm>
            <a:off x="5019662" y="3277842"/>
            <a:ext cx="0" cy="23666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1296137" y="3621697"/>
            <a:ext cx="3652560" cy="934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 smtClean="0">
                <a:solidFill>
                  <a:schemeClr val="tx2"/>
                </a:solidFill>
              </a:rPr>
              <a:t>DESCRIPTION</a:t>
            </a:r>
            <a:endParaRPr kumimoji="1" lang="en-US" altLang="ja-JP" sz="1000" b="1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800" dirty="0">
                <a:solidFill>
                  <a:schemeClr val="tx2"/>
                </a:solidFill>
              </a:rPr>
              <a:t>Manufacturing and supplying all kinds of plastic products used for family activ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800" dirty="0">
                <a:solidFill>
                  <a:schemeClr val="tx2"/>
                </a:solidFill>
              </a:rPr>
              <a:t>Manufacturing high grade plastic products for food packaging market, chemicals, and other products used for the beverage industr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800" dirty="0">
                <a:solidFill>
                  <a:schemeClr val="tx2"/>
                </a:solidFill>
              </a:rPr>
              <a:t>The main products of the subject: Household and industrial plastic products, high grade plastic Melamine products, PP resin, PP ropes.</a:t>
            </a:r>
          </a:p>
          <a:p>
            <a:endParaRPr kumimoji="1" lang="en-US" altLang="ja-JP" sz="1000" b="1" dirty="0">
              <a:solidFill>
                <a:schemeClr val="tx2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171F40D1-BFB1-4D25-94C8-740ABE226C61}"/>
              </a:ext>
            </a:extLst>
          </p:cNvPr>
          <p:cNvSpPr/>
          <p:nvPr/>
        </p:nvSpPr>
        <p:spPr>
          <a:xfrm>
            <a:off x="1296137" y="4594122"/>
            <a:ext cx="3652560" cy="107188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>
                <a:solidFill>
                  <a:schemeClr val="tx2"/>
                </a:solidFill>
              </a:rPr>
              <a:t>PERFORMANCE</a:t>
            </a: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5091479" y="3621697"/>
            <a:ext cx="1850013" cy="934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 smtClean="0">
                <a:solidFill>
                  <a:schemeClr val="tx2"/>
                </a:solidFill>
              </a:rPr>
              <a:t>KEY EXECUTI ES</a:t>
            </a:r>
            <a:endParaRPr kumimoji="1" lang="en-US" altLang="ja-JP" sz="800" b="1" dirty="0">
              <a:solidFill>
                <a:schemeClr val="tx2"/>
              </a:solidFill>
            </a:endParaRP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3606740-295E-4608-AC87-1FD3B7A2EF93}"/>
              </a:ext>
            </a:extLst>
          </p:cNvPr>
          <p:cNvSpPr/>
          <p:nvPr/>
        </p:nvSpPr>
        <p:spPr>
          <a:xfrm>
            <a:off x="7012459" y="3621697"/>
            <a:ext cx="1739300" cy="9344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800" b="1" dirty="0">
                <a:solidFill>
                  <a:schemeClr val="tx2"/>
                </a:solidFill>
              </a:rPr>
              <a:t>ADDRESS (HQ)</a:t>
            </a:r>
          </a:p>
        </p:txBody>
      </p:sp>
      <p:sp>
        <p:nvSpPr>
          <p:cNvPr id="29" name="正方形/長方形 4">
            <a:extLst>
              <a:ext uri="{FF2B5EF4-FFF2-40B4-BE49-F238E27FC236}">
                <a16:creationId xmlns="" xmlns:a16="http://schemas.microsoft.com/office/drawing/2014/main" id="{31A29C88-7A61-4C69-93B3-7E46890DD751}"/>
              </a:ext>
            </a:extLst>
          </p:cNvPr>
          <p:cNvSpPr/>
          <p:nvPr/>
        </p:nvSpPr>
        <p:spPr>
          <a:xfrm>
            <a:off x="5091479" y="4594122"/>
            <a:ext cx="3660279" cy="107188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 smtClean="0">
                <a:solidFill>
                  <a:schemeClr val="tx2"/>
                </a:solidFill>
              </a:rPr>
              <a:t>NEWS</a:t>
            </a:r>
            <a:endParaRPr kumimoji="1" lang="en-US" altLang="ja-JP" sz="1000" b="1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900" u="sng" dirty="0" err="1">
                <a:hlinkClick r:id="rId2"/>
              </a:rPr>
              <a:t>Những</a:t>
            </a:r>
            <a:r>
              <a:rPr lang="vi-VN" sz="900" u="sng" dirty="0">
                <a:hlinkClick r:id="rId2"/>
              </a:rPr>
              <a:t> </a:t>
            </a:r>
            <a:r>
              <a:rPr lang="vi-VN" sz="900" u="sng" dirty="0" err="1">
                <a:hlinkClick r:id="rId2"/>
              </a:rPr>
              <a:t>điều</a:t>
            </a:r>
            <a:r>
              <a:rPr lang="vi-VN" sz="900" u="sng" dirty="0">
                <a:hlinkClick r:id="rId2"/>
              </a:rPr>
              <a:t> chưa </a:t>
            </a:r>
            <a:r>
              <a:rPr lang="vi-VN" sz="900" u="sng" dirty="0" err="1">
                <a:hlinkClick r:id="rId2"/>
              </a:rPr>
              <a:t>biết</a:t>
            </a:r>
            <a:r>
              <a:rPr lang="vi-VN" sz="900" u="sng" dirty="0">
                <a:hlinkClick r:id="rId2"/>
              </a:rPr>
              <a:t> </a:t>
            </a:r>
            <a:r>
              <a:rPr lang="vi-VN" sz="900" u="sng" dirty="0" err="1">
                <a:hlinkClick r:id="rId2"/>
              </a:rPr>
              <a:t>về</a:t>
            </a:r>
            <a:r>
              <a:rPr lang="vi-VN" sz="900" u="sng" dirty="0">
                <a:hlinkClick r:id="rId2"/>
              </a:rPr>
              <a:t> công ty </a:t>
            </a:r>
            <a:r>
              <a:rPr lang="vi-VN" sz="900" u="sng" dirty="0" err="1">
                <a:hlinkClick r:id="rId2"/>
              </a:rPr>
              <a:t>của</a:t>
            </a:r>
            <a:r>
              <a:rPr lang="vi-VN" sz="900" u="sng" dirty="0">
                <a:hlinkClick r:id="rId2"/>
              </a:rPr>
              <a:t> </a:t>
            </a:r>
            <a:r>
              <a:rPr lang="vi-VN" sz="900" u="sng" dirty="0" err="1">
                <a:hlinkClick r:id="rId2"/>
              </a:rPr>
              <a:t>thiếu</a:t>
            </a:r>
            <a:r>
              <a:rPr lang="vi-VN" sz="900" u="sng" dirty="0">
                <a:hlinkClick r:id="rId2"/>
              </a:rPr>
              <a:t> gia Minh </a:t>
            </a:r>
            <a:r>
              <a:rPr lang="vi-VN" sz="900" u="sng" dirty="0" err="1">
                <a:hlinkClick r:id="rId2"/>
              </a:rPr>
              <a:t>Nhựa</a:t>
            </a:r>
            <a:r>
              <a:rPr lang="vi-VN" sz="900" u="sng" dirty="0">
                <a:hlinkClick r:id="rId2"/>
              </a:rPr>
              <a:t> </a:t>
            </a:r>
            <a:endParaRPr lang="vi-VN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err="1">
                <a:hlinkClick r:id="rId3"/>
              </a:rPr>
              <a:t>Hỗ</a:t>
            </a:r>
            <a:r>
              <a:rPr lang="en-US" sz="900" dirty="0">
                <a:hlinkClick r:id="rId3"/>
              </a:rPr>
              <a:t> </a:t>
            </a:r>
            <a:r>
              <a:rPr lang="en-US" sz="900" dirty="0" err="1">
                <a:hlinkClick r:id="rId3"/>
              </a:rPr>
              <a:t>trợ</a:t>
            </a:r>
            <a:r>
              <a:rPr lang="en-US" sz="900" dirty="0">
                <a:hlinkClick r:id="rId3"/>
              </a:rPr>
              <a:t> </a:t>
            </a:r>
            <a:r>
              <a:rPr lang="en-US" sz="900" dirty="0" err="1">
                <a:hlinkClick r:id="rId3"/>
              </a:rPr>
              <a:t>doanh</a:t>
            </a:r>
            <a:r>
              <a:rPr lang="en-US" sz="900" dirty="0">
                <a:hlinkClick r:id="rId3"/>
              </a:rPr>
              <a:t> </a:t>
            </a:r>
            <a:r>
              <a:rPr lang="en-US" sz="900" dirty="0" err="1">
                <a:hlinkClick r:id="rId3"/>
              </a:rPr>
              <a:t>nghiệp</a:t>
            </a:r>
            <a:r>
              <a:rPr lang="en-US" sz="900" dirty="0">
                <a:hlinkClick r:id="rId3"/>
              </a:rPr>
              <a:t> </a:t>
            </a:r>
            <a:r>
              <a:rPr lang="en-US" sz="900" dirty="0" err="1">
                <a:hlinkClick r:id="rId3"/>
              </a:rPr>
              <a:t>hội</a:t>
            </a:r>
            <a:r>
              <a:rPr lang="en-US" sz="900" dirty="0">
                <a:hlinkClick r:id="rId3"/>
              </a:rPr>
              <a:t> </a:t>
            </a:r>
            <a:r>
              <a:rPr lang="en-US" sz="900" dirty="0" err="1">
                <a:hlinkClick r:id="rId3"/>
              </a:rPr>
              <a:t>nhập</a:t>
            </a:r>
            <a:endParaRPr 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err="1">
                <a:hlinkClick r:id="rId4"/>
              </a:rPr>
              <a:t>Để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công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nhân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yên</a:t>
            </a:r>
            <a:r>
              <a:rPr lang="en-US" sz="900" dirty="0">
                <a:hlinkClick r:id="rId4"/>
              </a:rPr>
              <a:t> </a:t>
            </a:r>
            <a:r>
              <a:rPr lang="en-US" sz="900" dirty="0" err="1">
                <a:hlinkClick r:id="rId4"/>
              </a:rPr>
              <a:t>tâm</a:t>
            </a:r>
            <a:endParaRPr 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000" b="1" dirty="0">
              <a:solidFill>
                <a:schemeClr val="tx2"/>
              </a:solidFill>
            </a:endParaRP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4" name="正方形/長方形 4">
            <a:extLst>
              <a:ext uri="{FF2B5EF4-FFF2-40B4-BE49-F238E27FC236}">
                <a16:creationId xmlns="" xmlns:a16="http://schemas.microsoft.com/office/drawing/2014/main" id="{89C3A174-FEE8-415D-A076-B2F7E57E4589}"/>
              </a:ext>
            </a:extLst>
          </p:cNvPr>
          <p:cNvSpPr/>
          <p:nvPr/>
        </p:nvSpPr>
        <p:spPr>
          <a:xfrm>
            <a:off x="5091479" y="3844512"/>
            <a:ext cx="1414180" cy="71160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Mr. TRUONG VAN NGOC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Mr. TRUONG DO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Mr. NGUYEN HOANG AN</a:t>
            </a:r>
          </a:p>
        </p:txBody>
      </p:sp>
      <p:sp>
        <p:nvSpPr>
          <p:cNvPr id="45" name="正方形/長方形 4">
            <a:extLst>
              <a:ext uri="{FF2B5EF4-FFF2-40B4-BE49-F238E27FC236}">
                <a16:creationId xmlns="" xmlns:a16="http://schemas.microsoft.com/office/drawing/2014/main" id="{1C446BDF-0F13-4538-841F-BED344FE2D95}"/>
              </a:ext>
            </a:extLst>
          </p:cNvPr>
          <p:cNvSpPr/>
          <p:nvPr/>
        </p:nvSpPr>
        <p:spPr>
          <a:xfrm>
            <a:off x="6505659" y="3844512"/>
            <a:ext cx="429625" cy="71160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1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4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600" dirty="0">
                <a:solidFill>
                  <a:schemeClr val="tx2"/>
                </a:solidFill>
              </a:rPr>
              <a:t>50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A6CCCE66-7103-42EB-86BF-3731389D4D0B}"/>
              </a:ext>
            </a:extLst>
          </p:cNvPr>
          <p:cNvSpPr/>
          <p:nvPr/>
        </p:nvSpPr>
        <p:spPr>
          <a:xfrm>
            <a:off x="7012458" y="3828566"/>
            <a:ext cx="17551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/>
              <a:t>48-49-50 Bai Say - Ward 1, 6 District, </a:t>
            </a:r>
          </a:p>
          <a:p>
            <a:r>
              <a:rPr lang="en-US" sz="600" dirty="0"/>
              <a:t>Ho Chi Minh City</a:t>
            </a:r>
          </a:p>
          <a:p>
            <a:r>
              <a:rPr lang="en-US" sz="600" dirty="0"/>
              <a:t>Vietnam </a:t>
            </a:r>
          </a:p>
          <a:p>
            <a:r>
              <a:rPr lang="en-US" sz="600" dirty="0"/>
              <a:t>(84-8) 3859 0120 </a:t>
            </a:r>
          </a:p>
          <a:p>
            <a:r>
              <a:rPr lang="en-US" sz="600" dirty="0"/>
              <a:t>(84-8) 3855 5132 </a:t>
            </a:r>
          </a:p>
          <a:p>
            <a:r>
              <a:rPr lang="en-US" sz="600" dirty="0"/>
              <a:t>hitaco@hcm.vnn.vn </a:t>
            </a:r>
          </a:p>
          <a:p>
            <a:r>
              <a:rPr lang="en-US" sz="600" dirty="0"/>
              <a:t>www.hiepthanhplastic.com.vn </a:t>
            </a:r>
          </a:p>
          <a:p>
            <a:endParaRPr lang="en-US" sz="600" dirty="0"/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9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4822304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016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0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4822304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017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2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4822304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015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3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5042598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Revenue ($)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4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5218703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Profit ($)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5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54421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Employee Count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6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5042598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345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7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5042598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3455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5042598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33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59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5217199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4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0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5217199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5217199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5441605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2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5441605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2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4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5441605"/>
            <a:ext cx="700103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1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5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292097" y="3326794"/>
            <a:ext cx="770112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66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07914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67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66186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EXECUTIVES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8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53233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CORPORATE STRUCTURE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9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4027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BUSINESS SUMMARY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0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71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72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74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75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76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7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sp>
        <p:nvSpPr>
          <p:cNvPr id="78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36298" y="1149896"/>
            <a:ext cx="1130893" cy="21602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25467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1FEC9492-972F-4E29-940A-75CF2C3B49DD}"/>
              </a:ext>
            </a:extLst>
          </p:cNvPr>
          <p:cNvCxnSpPr>
            <a:cxnSpLocks/>
          </p:cNvCxnSpPr>
          <p:nvPr/>
        </p:nvCxnSpPr>
        <p:spPr>
          <a:xfrm>
            <a:off x="5019662" y="3277842"/>
            <a:ext cx="0" cy="23666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EXECUTIVES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CORPORATE STRUCTURE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BUSINESS SUMMARY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6122637" y="3853811"/>
            <a:ext cx="2580046" cy="4641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700" dirty="0" smtClean="0">
                <a:solidFill>
                  <a:schemeClr val="tx2"/>
                </a:solidFill>
              </a:rPr>
              <a:t>ADDRESS LINE 1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ADDRESS LINE 2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WARD – DISTRICT – CITY – PROVINCE 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VIETNAM</a:t>
            </a:r>
            <a:endParaRPr kumimoji="1" lang="en-US" altLang="ja-JP" sz="700" dirty="0">
              <a:solidFill>
                <a:schemeClr val="tx2"/>
              </a:solidFill>
            </a:endParaRP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6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5088359" y="3853811"/>
            <a:ext cx="886707" cy="4641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700" b="1" dirty="0" smtClean="0">
                <a:solidFill>
                  <a:schemeClr val="tx2"/>
                </a:solidFill>
              </a:rPr>
              <a:t>PHYSICAL ADDRESS</a:t>
            </a:r>
          </a:p>
        </p:txBody>
      </p:sp>
      <p:sp>
        <p:nvSpPr>
          <p:cNvPr id="51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6122637" y="4320362"/>
            <a:ext cx="2580046" cy="21163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dirty="0" smtClean="0">
                <a:solidFill>
                  <a:schemeClr val="tx2"/>
                </a:solidFill>
              </a:rPr>
              <a:t>YES/ NO</a:t>
            </a:r>
            <a:endParaRPr kumimoji="1" lang="en-US" altLang="ja-JP" sz="700" dirty="0">
              <a:solidFill>
                <a:schemeClr val="tx2"/>
              </a:solidFill>
            </a:endParaRPr>
          </a:p>
        </p:txBody>
      </p:sp>
      <p:sp>
        <p:nvSpPr>
          <p:cNvPr id="65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5088359" y="4320362"/>
            <a:ext cx="886707" cy="21163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 smtClean="0">
                <a:solidFill>
                  <a:schemeClr val="tx2"/>
                </a:solidFill>
              </a:rPr>
              <a:t>REGISTERED ADDRESS</a:t>
            </a:r>
            <a:endParaRPr kumimoji="1" lang="en-US" altLang="ja-JP" sz="700" b="1" dirty="0">
              <a:solidFill>
                <a:schemeClr val="tx2"/>
              </a:solidFill>
            </a:endParaRPr>
          </a:p>
        </p:txBody>
      </p:sp>
      <p:sp>
        <p:nvSpPr>
          <p:cNvPr id="66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6122637" y="4568128"/>
            <a:ext cx="2580046" cy="4702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700" dirty="0" smtClean="0">
                <a:solidFill>
                  <a:schemeClr val="tx2"/>
                </a:solidFill>
              </a:rPr>
              <a:t>ADDRESS LINE 1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ADDRESS LINE 2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WARD – DISTRICT – CITY – PROVINCE 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VIETNAM</a:t>
            </a:r>
            <a:endParaRPr kumimoji="1" lang="en-US" altLang="ja-JP" sz="700" dirty="0">
              <a:solidFill>
                <a:schemeClr val="tx2"/>
              </a:solidFill>
            </a:endParaRPr>
          </a:p>
        </p:txBody>
      </p:sp>
      <p:sp>
        <p:nvSpPr>
          <p:cNvPr id="67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5088359" y="4568128"/>
            <a:ext cx="886707" cy="4702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700" b="1" dirty="0" smtClean="0">
                <a:solidFill>
                  <a:schemeClr val="tx2"/>
                </a:solidFill>
              </a:rPr>
              <a:t>MAILING ADDRESS</a:t>
            </a:r>
            <a:endParaRPr kumimoji="1" lang="en-US" altLang="ja-JP" sz="700" b="1" dirty="0">
              <a:solidFill>
                <a:schemeClr val="tx2"/>
              </a:solidFill>
            </a:endParaRP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1300099" y="3621698"/>
            <a:ext cx="1798559" cy="56297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>
                <a:solidFill>
                  <a:schemeClr val="tx2"/>
                </a:solidFill>
              </a:rPr>
              <a:t>Year of Registration</a:t>
            </a:r>
          </a:p>
          <a:p>
            <a:r>
              <a:rPr kumimoji="1" lang="en-US" altLang="ja-JP" sz="900" dirty="0">
                <a:solidFill>
                  <a:schemeClr val="tx2"/>
                </a:solidFill>
              </a:rPr>
              <a:t>Place of Registration</a:t>
            </a:r>
          </a:p>
          <a:p>
            <a:r>
              <a:rPr kumimoji="1" lang="en-US" altLang="ja-JP" sz="900" dirty="0">
                <a:solidFill>
                  <a:schemeClr val="tx2"/>
                </a:solidFill>
              </a:rPr>
              <a:t>Registered </a:t>
            </a:r>
            <a:r>
              <a:rPr kumimoji="1" lang="en-US" altLang="ja-JP" sz="900" dirty="0" smtClean="0">
                <a:solidFill>
                  <a:schemeClr val="tx2"/>
                </a:solidFill>
              </a:rPr>
              <a:t>Capital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Years in business</a:t>
            </a:r>
          </a:p>
          <a:p>
            <a:endParaRPr kumimoji="1" lang="en-US" altLang="ja-JP" sz="900" dirty="0">
              <a:solidFill>
                <a:schemeClr val="tx2"/>
              </a:solidFill>
            </a:endParaRPr>
          </a:p>
          <a:p>
            <a:endParaRPr kumimoji="1" lang="en-US" altLang="ja-JP" sz="900" dirty="0">
              <a:solidFill>
                <a:schemeClr val="tx2"/>
              </a:solidFill>
            </a:endParaRPr>
          </a:p>
          <a:p>
            <a:endParaRPr kumimoji="1" lang="en-US" altLang="ja-JP" sz="900" b="1" dirty="0">
              <a:solidFill>
                <a:schemeClr val="tx2"/>
              </a:solidFill>
            </a:endParaRPr>
          </a:p>
        </p:txBody>
      </p:sp>
      <p:sp>
        <p:nvSpPr>
          <p:cNvPr id="68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1300099" y="4222672"/>
            <a:ext cx="1798559" cy="59963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Key Brands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72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3130079" y="3621698"/>
            <a:ext cx="1798559" cy="56297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>
                <a:solidFill>
                  <a:schemeClr val="tx2"/>
                </a:solidFill>
              </a:rPr>
              <a:t>SIC Code</a:t>
            </a:r>
          </a:p>
          <a:p>
            <a:r>
              <a:rPr kumimoji="1" lang="en-US" altLang="ja-JP" sz="900" dirty="0">
                <a:solidFill>
                  <a:schemeClr val="tx2"/>
                </a:solidFill>
              </a:rPr>
              <a:t>NACE Code</a:t>
            </a:r>
          </a:p>
          <a:p>
            <a:r>
              <a:rPr kumimoji="1" lang="en-US" altLang="ja-JP" sz="900" dirty="0">
                <a:solidFill>
                  <a:schemeClr val="tx2"/>
                </a:solidFill>
              </a:rPr>
              <a:t>Trade </a:t>
            </a:r>
            <a:r>
              <a:rPr kumimoji="1" lang="en-US" altLang="ja-JP" sz="900" dirty="0" smtClean="0">
                <a:solidFill>
                  <a:schemeClr val="tx2"/>
                </a:solidFill>
              </a:rPr>
              <a:t>Style</a:t>
            </a:r>
          </a:p>
        </p:txBody>
      </p:sp>
      <p:sp>
        <p:nvSpPr>
          <p:cNvPr id="74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3130079" y="4222672"/>
            <a:ext cx="1798559" cy="109263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>
                <a:solidFill>
                  <a:schemeClr val="tx2"/>
                </a:solidFill>
              </a:rPr>
              <a:t>Out of Business Ind. 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Foreign parent Ind.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Marketable </a:t>
            </a:r>
            <a:r>
              <a:rPr kumimoji="1" lang="en-US" altLang="ja-JP" sz="900" dirty="0">
                <a:solidFill>
                  <a:schemeClr val="tx2"/>
                </a:solidFill>
              </a:rPr>
              <a:t>Ind.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Import/Export </a:t>
            </a:r>
            <a:r>
              <a:rPr kumimoji="1" lang="en-US" altLang="ja-JP" sz="900" dirty="0">
                <a:solidFill>
                  <a:schemeClr val="tx2"/>
                </a:solidFill>
              </a:rPr>
              <a:t>Ind</a:t>
            </a:r>
            <a:r>
              <a:rPr kumimoji="1" lang="en-US" altLang="ja-JP" sz="900" dirty="0" smtClean="0">
                <a:solidFill>
                  <a:schemeClr val="tx2"/>
                </a:solidFill>
              </a:rPr>
              <a:t>.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Subsidiaries Ind.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Single Location Ind. 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77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5074455" y="3619829"/>
            <a:ext cx="3667773" cy="141849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 smtClean="0">
                <a:solidFill>
                  <a:schemeClr val="tx2"/>
                </a:solidFill>
              </a:rPr>
              <a:t>HQ</a:t>
            </a:r>
            <a:endParaRPr kumimoji="1" lang="en-US" altLang="ja-JP" sz="1000" b="1" dirty="0">
              <a:solidFill>
                <a:schemeClr val="tx2"/>
              </a:solidFill>
            </a:endParaRPr>
          </a:p>
        </p:txBody>
      </p:sp>
      <p:sp>
        <p:nvSpPr>
          <p:cNvPr id="78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6122637" y="5315305"/>
            <a:ext cx="2580046" cy="4641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700" dirty="0" smtClean="0">
                <a:solidFill>
                  <a:schemeClr val="tx2"/>
                </a:solidFill>
              </a:rPr>
              <a:t>ADDRESS LINE 1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ADDRESS LINE 2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WARD – DISTRICT – CITY – PROVINCE </a:t>
            </a:r>
          </a:p>
          <a:p>
            <a:r>
              <a:rPr kumimoji="1" lang="en-US" altLang="ja-JP" sz="700" dirty="0" smtClean="0">
                <a:solidFill>
                  <a:schemeClr val="tx2"/>
                </a:solidFill>
              </a:rPr>
              <a:t>VIETNAM</a:t>
            </a:r>
            <a:endParaRPr kumimoji="1" lang="en-US" altLang="ja-JP" sz="700" dirty="0">
              <a:solidFill>
                <a:schemeClr val="tx2"/>
              </a:solidFill>
            </a:endParaRPr>
          </a:p>
        </p:txBody>
      </p:sp>
      <p:sp>
        <p:nvSpPr>
          <p:cNvPr id="79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5088359" y="5315305"/>
            <a:ext cx="886707" cy="4641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700" b="1" dirty="0" smtClean="0">
                <a:solidFill>
                  <a:schemeClr val="tx2"/>
                </a:solidFill>
              </a:rPr>
              <a:t>PHYSICAL ADDRESS</a:t>
            </a:r>
          </a:p>
        </p:txBody>
      </p:sp>
      <p:sp>
        <p:nvSpPr>
          <p:cNvPr id="84" name="正方形/長方形 4">
            <a:extLst>
              <a:ext uri="{FF2B5EF4-FFF2-40B4-BE49-F238E27FC236}">
                <a16:creationId xmlns="" xmlns:a16="http://schemas.microsoft.com/office/drawing/2014/main" id="{CD98692A-D6C0-4179-8D7E-C143BF87DFC8}"/>
              </a:ext>
            </a:extLst>
          </p:cNvPr>
          <p:cNvSpPr/>
          <p:nvPr/>
        </p:nvSpPr>
        <p:spPr>
          <a:xfrm>
            <a:off x="5074455" y="5081324"/>
            <a:ext cx="3667773" cy="74909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000" b="1" dirty="0" smtClean="0">
                <a:solidFill>
                  <a:schemeClr val="tx2"/>
                </a:solidFill>
              </a:rPr>
              <a:t>Plant 1</a:t>
            </a:r>
            <a:endParaRPr kumimoji="1" lang="en-US" altLang="ja-JP" sz="1000" b="1" dirty="0">
              <a:solidFill>
                <a:schemeClr val="tx2"/>
              </a:solidFill>
            </a:endParaRP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sp>
        <p:nvSpPr>
          <p:cNvPr id="90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1300098" y="5345888"/>
            <a:ext cx="3628539" cy="79562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Description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(from NACE description)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92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1300099" y="4849190"/>
            <a:ext cx="1798559" cy="46611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Trade Territories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93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86351" y="1149896"/>
            <a:ext cx="1102008" cy="21602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0.5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4183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EXECUTIVES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CORPORATE STRUCTURE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BUSINESS SUMMARY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sp>
        <p:nvSpPr>
          <p:cNvPr id="50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3603248"/>
            <a:ext cx="884312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NAME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3603248"/>
            <a:ext cx="884312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POSITION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3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3603248"/>
            <a:ext cx="884312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EXECUTIVE GROUP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4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3603248"/>
            <a:ext cx="884312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GENDER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5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3603248"/>
            <a:ext cx="884312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EMAIL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6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3603248"/>
            <a:ext cx="910278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PHONE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7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3603248"/>
            <a:ext cx="910278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SOCIAL PROFILE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58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3603248"/>
            <a:ext cx="910278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61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39709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6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39709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63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39709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64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39709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69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39709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70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3970908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71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3970908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73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3970908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0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09614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1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409614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2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409614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3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409614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5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409614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6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4096144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4096144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9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4096144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2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22138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422138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422138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5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422138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422138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4221380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4221380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9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4221380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1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34661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434661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3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434661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4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434661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5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434661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6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434661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7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434661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8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434661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0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47185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1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447185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2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447185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3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447185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4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4471854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5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4471854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6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4471854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7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4471854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958208"/>
            <a:ext cx="735664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3774280"/>
            <a:ext cx="1179148" cy="171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500" b="1" dirty="0" smtClean="0">
                <a:solidFill>
                  <a:schemeClr val="tx2"/>
                </a:solidFill>
              </a:rPr>
              <a:t>CURRENT EXECUTIVE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20" name="Isosceles Triangle 119"/>
          <p:cNvSpPr/>
          <p:nvPr/>
        </p:nvSpPr>
        <p:spPr>
          <a:xfrm rot="10800000">
            <a:off x="1338580" y="3814192"/>
            <a:ext cx="244307" cy="70563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162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84270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484270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484270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5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484270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4842700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4842700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4842700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9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4842700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4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96793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5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496793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6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496793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7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496793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8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496793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9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496793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0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496793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61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496793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6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093172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7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5093172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8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5093172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9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5093172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0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5093172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1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5093172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2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5093172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3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5093172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2184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52184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52184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52184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5218408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3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5218408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4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5218408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45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5218408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0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34364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RAN VAN 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1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234597" y="534364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2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3155132" y="534364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3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4075667" y="534364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4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996202" y="5343646"/>
            <a:ext cx="884312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5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916737" y="534364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0285456363563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6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863238" y="534364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facebook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/ </a:t>
            </a:r>
            <a:r>
              <a:rPr kumimoji="1" lang="en-US" altLang="ja-JP" sz="500" dirty="0" err="1" smtClean="0">
                <a:solidFill>
                  <a:schemeClr val="tx2"/>
                </a:solidFill>
              </a:rPr>
              <a:t>anpheba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37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7809739" y="5343646"/>
            <a:ext cx="910278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OTES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4830000"/>
            <a:ext cx="735664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646072"/>
            <a:ext cx="1179148" cy="171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500" b="1" dirty="0" smtClean="0">
                <a:solidFill>
                  <a:schemeClr val="tx2"/>
                </a:solidFill>
              </a:rPr>
              <a:t>PREVISOUS EXECUTIVE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29" name="Isosceles Triangle 128"/>
          <p:cNvSpPr/>
          <p:nvPr/>
        </p:nvSpPr>
        <p:spPr>
          <a:xfrm rot="10800000">
            <a:off x="1338580" y="4685984"/>
            <a:ext cx="244307" cy="70563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170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445024" y="1149896"/>
            <a:ext cx="13221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08243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EXECUTIVES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RPORATE STRUCTURE</a:t>
            </a: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BUSINESS SUMMARY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958208"/>
            <a:ext cx="735664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4430167"/>
            <a:ext cx="735664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5338303"/>
            <a:ext cx="735664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3603248"/>
            <a:ext cx="1425884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COMPANY NAME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7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3603248"/>
            <a:ext cx="1425884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>
                <a:solidFill>
                  <a:schemeClr val="tx2"/>
                </a:solidFill>
              </a:rPr>
              <a:t>SHARES </a:t>
            </a:r>
            <a:r>
              <a:rPr kumimoji="1" lang="en-US" altLang="ja-JP" sz="500" b="1" dirty="0" smtClean="0">
                <a:solidFill>
                  <a:schemeClr val="tx2"/>
                </a:solidFill>
              </a:rPr>
              <a:t>OWNED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73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3603248"/>
            <a:ext cx="1425884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BUSINES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74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3603248"/>
            <a:ext cx="1425884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LOCATION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75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3603248"/>
            <a:ext cx="1425884" cy="15155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DUNS NO.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79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3970908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180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3970908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XXX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81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3970908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82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3970908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83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3970908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87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096144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188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4096144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XXX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89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4096144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90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4096144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91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4096144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20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06611" y="3774280"/>
            <a:ext cx="1050244" cy="1711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500" b="1" dirty="0" smtClean="0">
                <a:solidFill>
                  <a:schemeClr val="tx2"/>
                </a:solidFill>
              </a:rPr>
              <a:t>PARENT COMPANIE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221" name="Isosceles Triangle 220"/>
          <p:cNvSpPr/>
          <p:nvPr/>
        </p:nvSpPr>
        <p:spPr>
          <a:xfrm rot="10800000">
            <a:off x="1350454" y="3814192"/>
            <a:ext cx="222361" cy="70563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22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442867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2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4442867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XXX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2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4442867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25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4442867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2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4442867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30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5681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31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45681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232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45681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33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45681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34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45681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3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6933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3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46933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XXX</a:t>
            </a:r>
          </a:p>
        </p:txBody>
      </p:sp>
      <p:sp>
        <p:nvSpPr>
          <p:cNvPr id="24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46933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4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46933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4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46933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46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8185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47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48185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48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48185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49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48185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50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48185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54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494381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55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494381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56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494381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57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494381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58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494381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63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06611" y="4246240"/>
            <a:ext cx="787980" cy="17111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500" b="1" dirty="0" smtClean="0">
                <a:solidFill>
                  <a:schemeClr val="tx2"/>
                </a:solidFill>
              </a:rPr>
              <a:t>SUBSIDIARIE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264" name="Isosceles Triangle 263"/>
          <p:cNvSpPr/>
          <p:nvPr/>
        </p:nvSpPr>
        <p:spPr>
          <a:xfrm rot="10800000">
            <a:off x="1350454" y="4286151"/>
            <a:ext cx="222361" cy="70563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65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3510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66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53510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67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53510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68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53510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69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5351003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73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4762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74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54762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75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54762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76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54762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77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547623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81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6014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8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56014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83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56014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84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56014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85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5601475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89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726711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90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5726711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91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5726711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92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5726711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93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5726711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97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2" y="585194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298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798353" y="585194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EO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299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4282644" y="585194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300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5766935" y="585194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301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7251226" y="5851949"/>
            <a:ext cx="1425884" cy="13778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atran@acb.com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306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06611" y="5154376"/>
            <a:ext cx="787980" cy="17111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500" b="1" dirty="0" smtClean="0">
                <a:solidFill>
                  <a:schemeClr val="tx2"/>
                </a:solidFill>
              </a:rPr>
              <a:t>BRANCHE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307" name="Isosceles Triangle 306"/>
          <p:cNvSpPr/>
          <p:nvPr/>
        </p:nvSpPr>
        <p:spPr>
          <a:xfrm rot="10800000">
            <a:off x="1350454" y="5194287"/>
            <a:ext cx="222361" cy="70563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308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445024" y="1149896"/>
            <a:ext cx="13221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63179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EXECUTIVES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RPORATE STRUCTURE</a:t>
            </a: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BUSINESS SUMMARY</a:t>
            </a: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1300098" y="3621696"/>
            <a:ext cx="3628539" cy="128441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Performance Summary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023477" y="3867150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016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3782079" y="3867150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017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237022" y="3867150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015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446417" y="4087444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Revenue ($)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28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446417" y="4288949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Profit ($)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0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023477" y="4087444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345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1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3782079" y="4087444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3455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2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237022" y="4087444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33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3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023477" y="4287445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4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4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3782079" y="4287445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5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237022" y="4287445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458668" y="4054183"/>
            <a:ext cx="33341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446417" y="4514615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Employee Here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446417" y="4716120"/>
            <a:ext cx="680164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Employee Total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1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023477" y="4514615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12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2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3782079" y="4514615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3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3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237022" y="4514615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11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4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023477" y="4714616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141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5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3782079" y="4714616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2312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76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237022" y="4714616"/>
            <a:ext cx="680164" cy="16671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1232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458668" y="4481354"/>
            <a:ext cx="33341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Isosceles Triangle 77"/>
          <p:cNvSpPr/>
          <p:nvPr/>
        </p:nvSpPr>
        <p:spPr>
          <a:xfrm rot="10800000">
            <a:off x="4559755" y="4138246"/>
            <a:ext cx="151695" cy="70563"/>
          </a:xfrm>
          <a:prstGeom prst="triangle">
            <a:avLst/>
          </a:prstGeom>
          <a:solidFill>
            <a:srgbClr val="FF0000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79" name="Isosceles Triangle 78"/>
          <p:cNvSpPr/>
          <p:nvPr/>
        </p:nvSpPr>
        <p:spPr>
          <a:xfrm>
            <a:off x="4559755" y="4342502"/>
            <a:ext cx="151695" cy="70563"/>
          </a:xfrm>
          <a:prstGeom prst="triangle">
            <a:avLst/>
          </a:prstGeom>
          <a:solidFill>
            <a:srgbClr val="92D050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80" name="Isosceles Triangle 79"/>
          <p:cNvSpPr/>
          <p:nvPr/>
        </p:nvSpPr>
        <p:spPr>
          <a:xfrm rot="10800000">
            <a:off x="4559755" y="4565417"/>
            <a:ext cx="151695" cy="70563"/>
          </a:xfrm>
          <a:prstGeom prst="triangle">
            <a:avLst/>
          </a:prstGeom>
          <a:solidFill>
            <a:srgbClr val="FF0000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81" name="Isosceles Triangle 80"/>
          <p:cNvSpPr/>
          <p:nvPr/>
        </p:nvSpPr>
        <p:spPr>
          <a:xfrm>
            <a:off x="4559755" y="4769673"/>
            <a:ext cx="151695" cy="70563"/>
          </a:xfrm>
          <a:prstGeom prst="triangle">
            <a:avLst/>
          </a:prstGeom>
          <a:solidFill>
            <a:srgbClr val="92D050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82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1300098" y="4966320"/>
            <a:ext cx="3628539" cy="122413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Business Description</a:t>
            </a:r>
          </a:p>
          <a:p>
            <a:r>
              <a:rPr kumimoji="1" lang="en-US" altLang="ja-JP" sz="900" dirty="0" smtClean="0">
                <a:solidFill>
                  <a:schemeClr val="tx2"/>
                </a:solidFill>
              </a:rPr>
              <a:t>(description from other sources e.g. </a:t>
            </a:r>
            <a:r>
              <a:rPr kumimoji="1" lang="en-US" altLang="ja-JP" sz="900" dirty="0" err="1" smtClean="0">
                <a:solidFill>
                  <a:schemeClr val="tx2"/>
                </a:solidFill>
              </a:rPr>
              <a:t>linkedin</a:t>
            </a:r>
            <a:r>
              <a:rPr kumimoji="1" lang="en-US" altLang="ja-JP" sz="900" dirty="0" smtClean="0">
                <a:solidFill>
                  <a:schemeClr val="tx2"/>
                </a:solidFill>
              </a:rPr>
              <a:t>, </a:t>
            </a:r>
            <a:r>
              <a:rPr kumimoji="1" lang="en-US" altLang="ja-JP" sz="900" dirty="0" err="1" smtClean="0">
                <a:solidFill>
                  <a:schemeClr val="tx2"/>
                </a:solidFill>
              </a:rPr>
              <a:t>vietnamworks</a:t>
            </a:r>
            <a:r>
              <a:rPr kumimoji="1" lang="en-US" altLang="ja-JP" sz="900" dirty="0" smtClean="0">
                <a:solidFill>
                  <a:schemeClr val="tx2"/>
                </a:solidFill>
              </a:rPr>
              <a:t>, etc.)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8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3176842" y="3648988"/>
            <a:ext cx="1718595" cy="1490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Financial Statement Date       31-12-2016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84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5091479" y="3621696"/>
            <a:ext cx="3628539" cy="69630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Brand Associated</a:t>
            </a:r>
            <a:endParaRPr kumimoji="1" lang="en-US" altLang="ja-JP" sz="900" dirty="0">
              <a:solidFill>
                <a:schemeClr val="tx2"/>
              </a:solidFill>
            </a:endParaRPr>
          </a:p>
        </p:txBody>
      </p:sp>
      <p:sp>
        <p:nvSpPr>
          <p:cNvPr id="85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5091479" y="4495800"/>
            <a:ext cx="3628539" cy="169465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900" dirty="0" smtClean="0">
                <a:solidFill>
                  <a:schemeClr val="tx2"/>
                </a:solidFill>
              </a:rPr>
              <a:t>Intermediaries Functions</a:t>
            </a:r>
          </a:p>
        </p:txBody>
      </p:sp>
      <p:sp>
        <p:nvSpPr>
          <p:cNvPr id="88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5851322" y="4789940"/>
            <a:ext cx="686026" cy="1377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COMPANY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91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5138945" y="4789940"/>
            <a:ext cx="686026" cy="1377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FUNCTIONS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9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5851322" y="4961724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COMPANY NAME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5138945" y="4961724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Agent of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8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5851322" y="5075575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101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5138945" y="5075575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Distributor of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5851322" y="5189426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NAME</a:t>
            </a:r>
          </a:p>
        </p:txBody>
      </p:sp>
      <p:sp>
        <p:nvSpPr>
          <p:cNvPr id="10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5138945" y="5189426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Retailer of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8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5851322" y="5303277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NAME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1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5138945" y="5303277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Wholesaler of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5851322" y="5417130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COMPANY </a:t>
            </a:r>
            <a:r>
              <a:rPr kumimoji="1" lang="en-US" altLang="ja-JP" sz="500" dirty="0" smtClean="0">
                <a:solidFill>
                  <a:schemeClr val="tx2"/>
                </a:solidFill>
              </a:rPr>
              <a:t>NAME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89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6565448" y="4789940"/>
            <a:ext cx="1272063" cy="1377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BUSINESS DESCRIPTION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9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6565448" y="4961724"/>
            <a:ext cx="1272063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99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6565448" y="5075575"/>
            <a:ext cx="1272063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6565448" y="5189426"/>
            <a:ext cx="1272063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09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6565448" y="5303277"/>
            <a:ext cx="1272063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4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6565448" y="5417130"/>
            <a:ext cx="1272063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TOP MANAGEMENT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6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5138945" y="5417130"/>
            <a:ext cx="686026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500" dirty="0" smtClean="0">
                <a:solidFill>
                  <a:schemeClr val="tx2"/>
                </a:solidFill>
              </a:rPr>
              <a:t>Broker of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19" name="正方形/長方形 4">
            <a:extLst>
              <a:ext uri="{FF2B5EF4-FFF2-40B4-BE49-F238E27FC236}">
                <a16:creationId xmlns="" xmlns:a16="http://schemas.microsoft.com/office/drawing/2014/main" id="{D2517674-534E-4B39-8A2A-C0E26B7DAE56}"/>
              </a:ext>
            </a:extLst>
          </p:cNvPr>
          <p:cNvSpPr/>
          <p:nvPr/>
        </p:nvSpPr>
        <p:spPr>
          <a:xfrm>
            <a:off x="5091479" y="4635092"/>
            <a:ext cx="3628539" cy="12926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dirty="0" smtClean="0">
                <a:solidFill>
                  <a:schemeClr val="tx2"/>
                </a:solidFill>
              </a:rPr>
              <a:t>(agent, broker, wholesaler, distributor, retailer, channel partner, etc.)</a:t>
            </a:r>
          </a:p>
        </p:txBody>
      </p:sp>
      <p:sp>
        <p:nvSpPr>
          <p:cNvPr id="150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7895782" y="4789940"/>
            <a:ext cx="781328" cy="1377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tx2"/>
                </a:solidFill>
              </a:rPr>
              <a:t>RELATIONSHIP</a:t>
            </a:r>
            <a:endParaRPr kumimoji="1" lang="en-US" altLang="ja-JP" sz="500" b="1" dirty="0">
              <a:solidFill>
                <a:schemeClr val="tx2"/>
              </a:solidFill>
            </a:endParaRPr>
          </a:p>
        </p:txBody>
      </p:sp>
      <p:sp>
        <p:nvSpPr>
          <p:cNvPr id="151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7895782" y="4961724"/>
            <a:ext cx="781328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EW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7895782" y="5075575"/>
            <a:ext cx="781328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ESTABLISHED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3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7895782" y="5189426"/>
            <a:ext cx="781328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 smtClean="0">
                <a:solidFill>
                  <a:schemeClr val="tx2"/>
                </a:solidFill>
              </a:rPr>
              <a:t>NEW</a:t>
            </a:r>
            <a:endParaRPr kumimoji="1" lang="en-US" altLang="ja-JP" sz="500" dirty="0">
              <a:solidFill>
                <a:schemeClr val="tx2"/>
              </a:solidFill>
            </a:endParaRPr>
          </a:p>
        </p:txBody>
      </p:sp>
      <p:sp>
        <p:nvSpPr>
          <p:cNvPr id="154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7895782" y="5303277"/>
            <a:ext cx="781328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NEW</a:t>
            </a:r>
          </a:p>
        </p:txBody>
      </p:sp>
      <p:sp>
        <p:nvSpPr>
          <p:cNvPr id="155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7895782" y="5417130"/>
            <a:ext cx="781328" cy="1252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dirty="0">
                <a:solidFill>
                  <a:schemeClr val="tx2"/>
                </a:solidFill>
              </a:rPr>
              <a:t>NEW</a:t>
            </a:r>
          </a:p>
        </p:txBody>
      </p:sp>
      <p:sp>
        <p:nvSpPr>
          <p:cNvPr id="156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3445024" y="1149896"/>
            <a:ext cx="13221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99601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EXECUTIVES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RPORATE STRUCTURE</a:t>
            </a: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BUSINESS SUMMARY</a:t>
            </a: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cxnSp>
        <p:nvCxnSpPr>
          <p:cNvPr id="198" name="Straight Connector 197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314062" y="3603248"/>
            <a:ext cx="7315538" cy="796712"/>
            <a:chOff x="1314062" y="3603248"/>
            <a:chExt cx="4566452" cy="796712"/>
          </a:xfrm>
        </p:grpSpPr>
        <p:sp>
          <p:nvSpPr>
            <p:cNvPr id="86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14062" y="3761234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RAN VAN A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9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34597" y="3761234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9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155132" y="3761234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95" name="正方形/長方形 4">
              <a:extLst>
                <a:ext uri="{FF2B5EF4-FFF2-40B4-BE49-F238E27FC236}">
                  <a16:creationId xmlns="" xmlns:a16="http://schemas.microsoft.com/office/drawing/2014/main" id="{00598230-F870-4ED6-A48B-F2F2EB0ACDC3}"/>
                </a:ext>
              </a:extLst>
            </p:cNvPr>
            <p:cNvSpPr/>
            <p:nvPr/>
          </p:nvSpPr>
          <p:spPr>
            <a:xfrm>
              <a:off x="4075667" y="3761234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97" name="正方形/長方形 4">
              <a:extLst>
                <a:ext uri="{FF2B5EF4-FFF2-40B4-BE49-F238E27FC236}">
                  <a16:creationId xmlns="" xmlns:a16="http://schemas.microsoft.com/office/drawing/2014/main" id="{8F7145A6-1306-48D6-B75D-447E5548234F}"/>
                </a:ext>
              </a:extLst>
            </p:cNvPr>
            <p:cNvSpPr/>
            <p:nvPr/>
          </p:nvSpPr>
          <p:spPr>
            <a:xfrm>
              <a:off x="4996202" y="3761234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atran@acb.co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07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14062" y="388647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RAN VAN A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1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34597" y="388647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1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155132" y="388647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15" name="正方形/長方形 4">
              <a:extLst>
                <a:ext uri="{FF2B5EF4-FFF2-40B4-BE49-F238E27FC236}">
                  <a16:creationId xmlns="" xmlns:a16="http://schemas.microsoft.com/office/drawing/2014/main" id="{00598230-F870-4ED6-A48B-F2F2EB0ACDC3}"/>
                </a:ext>
              </a:extLst>
            </p:cNvPr>
            <p:cNvSpPr/>
            <p:nvPr/>
          </p:nvSpPr>
          <p:spPr>
            <a:xfrm>
              <a:off x="4075667" y="388647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17" name="正方形/長方形 4">
              <a:extLst>
                <a:ext uri="{FF2B5EF4-FFF2-40B4-BE49-F238E27FC236}">
                  <a16:creationId xmlns="" xmlns:a16="http://schemas.microsoft.com/office/drawing/2014/main" id="{8F7145A6-1306-48D6-B75D-447E5548234F}"/>
                </a:ext>
              </a:extLst>
            </p:cNvPr>
            <p:cNvSpPr/>
            <p:nvPr/>
          </p:nvSpPr>
          <p:spPr>
            <a:xfrm>
              <a:off x="4996202" y="388647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atran@acb.co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2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14062" y="4011706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RAN VAN A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3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34597" y="4011706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4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155132" y="4011706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5" name="正方形/長方形 4">
              <a:extLst>
                <a:ext uri="{FF2B5EF4-FFF2-40B4-BE49-F238E27FC236}">
                  <a16:creationId xmlns="" xmlns:a16="http://schemas.microsoft.com/office/drawing/2014/main" id="{00598230-F870-4ED6-A48B-F2F2EB0ACDC3}"/>
                </a:ext>
              </a:extLst>
            </p:cNvPr>
            <p:cNvSpPr/>
            <p:nvPr/>
          </p:nvSpPr>
          <p:spPr>
            <a:xfrm>
              <a:off x="4075667" y="4011706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6" name="正方形/長方形 4">
              <a:extLst>
                <a:ext uri="{FF2B5EF4-FFF2-40B4-BE49-F238E27FC236}">
                  <a16:creationId xmlns="" xmlns:a16="http://schemas.microsoft.com/office/drawing/2014/main" id="{8F7145A6-1306-48D6-B75D-447E5548234F}"/>
                </a:ext>
              </a:extLst>
            </p:cNvPr>
            <p:cNvSpPr/>
            <p:nvPr/>
          </p:nvSpPr>
          <p:spPr>
            <a:xfrm>
              <a:off x="4996202" y="4011706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atran@acb.co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0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14062" y="4136942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RAN VAN A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1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34597" y="4136942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155132" y="4136942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3" name="正方形/長方形 4">
              <a:extLst>
                <a:ext uri="{FF2B5EF4-FFF2-40B4-BE49-F238E27FC236}">
                  <a16:creationId xmlns="" xmlns:a16="http://schemas.microsoft.com/office/drawing/2014/main" id="{00598230-F870-4ED6-A48B-F2F2EB0ACDC3}"/>
                </a:ext>
              </a:extLst>
            </p:cNvPr>
            <p:cNvSpPr/>
            <p:nvPr/>
          </p:nvSpPr>
          <p:spPr>
            <a:xfrm>
              <a:off x="4075667" y="4136942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4" name="正方形/長方形 4">
              <a:extLst>
                <a:ext uri="{FF2B5EF4-FFF2-40B4-BE49-F238E27FC236}">
                  <a16:creationId xmlns="" xmlns:a16="http://schemas.microsoft.com/office/drawing/2014/main" id="{8F7145A6-1306-48D6-B75D-447E5548234F}"/>
                </a:ext>
              </a:extLst>
            </p:cNvPr>
            <p:cNvSpPr/>
            <p:nvPr/>
          </p:nvSpPr>
          <p:spPr>
            <a:xfrm>
              <a:off x="4996202" y="4136942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atran@acb.co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8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14062" y="426218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RAN VAN A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9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34597" y="426218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40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155132" y="426218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41" name="正方形/長方形 4">
              <a:extLst>
                <a:ext uri="{FF2B5EF4-FFF2-40B4-BE49-F238E27FC236}">
                  <a16:creationId xmlns="" xmlns:a16="http://schemas.microsoft.com/office/drawing/2014/main" id="{00598230-F870-4ED6-A48B-F2F2EB0ACDC3}"/>
                </a:ext>
              </a:extLst>
            </p:cNvPr>
            <p:cNvSpPr/>
            <p:nvPr/>
          </p:nvSpPr>
          <p:spPr>
            <a:xfrm>
              <a:off x="4075667" y="426218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42" name="正方形/長方形 4">
              <a:extLst>
                <a:ext uri="{FF2B5EF4-FFF2-40B4-BE49-F238E27FC236}">
                  <a16:creationId xmlns="" xmlns:a16="http://schemas.microsoft.com/office/drawing/2014/main" id="{8F7145A6-1306-48D6-B75D-447E5548234F}"/>
                </a:ext>
              </a:extLst>
            </p:cNvPr>
            <p:cNvSpPr/>
            <p:nvPr/>
          </p:nvSpPr>
          <p:spPr>
            <a:xfrm>
              <a:off x="4996202" y="4262180"/>
              <a:ext cx="884312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atran@acb.com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99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14062" y="3603248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COMPANY NAME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20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34597" y="3603248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REVENUE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155132" y="3603248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ROFIT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202" name="正方形/長方形 4">
              <a:extLst>
                <a:ext uri="{FF2B5EF4-FFF2-40B4-BE49-F238E27FC236}">
                  <a16:creationId xmlns="" xmlns:a16="http://schemas.microsoft.com/office/drawing/2014/main" id="{00598230-F870-4ED6-A48B-F2F2EB0ACDC3}"/>
                </a:ext>
              </a:extLst>
            </p:cNvPr>
            <p:cNvSpPr/>
            <p:nvPr/>
          </p:nvSpPr>
          <p:spPr>
            <a:xfrm>
              <a:off x="4075667" y="3603248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EMPLOYEE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203" name="正方形/長方形 4">
              <a:extLst>
                <a:ext uri="{FF2B5EF4-FFF2-40B4-BE49-F238E27FC236}">
                  <a16:creationId xmlns="" xmlns:a16="http://schemas.microsoft.com/office/drawing/2014/main" id="{8F7145A6-1306-48D6-B75D-447E5548234F}"/>
                </a:ext>
              </a:extLst>
            </p:cNvPr>
            <p:cNvSpPr/>
            <p:nvPr/>
          </p:nvSpPr>
          <p:spPr>
            <a:xfrm>
              <a:off x="4996202" y="3603248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BUSINESS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7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445024" y="1149896"/>
            <a:ext cx="13221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7033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EXECUTIVES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RPORATE STRUCTURE</a:t>
            </a: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BUSINESS SUMMARY</a:t>
            </a: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314062" y="3583694"/>
            <a:ext cx="7405955" cy="816266"/>
            <a:chOff x="1314062" y="3583694"/>
            <a:chExt cx="7405955" cy="816266"/>
          </a:xfrm>
        </p:grpSpPr>
        <p:cxnSp>
          <p:nvCxnSpPr>
            <p:cNvPr id="7" name="Straight Connector 6">
              <a:extLst>
                <a:ext uri="{FF2B5EF4-FFF2-40B4-BE49-F238E27FC236}">
                  <a16:creationId xmlns="" xmlns:a16="http://schemas.microsoft.com/office/drawing/2014/main" id="{B39241A8-97AB-4A84-8E7F-140CE5FF10FD}"/>
                </a:ext>
              </a:extLst>
            </p:cNvPr>
            <p:cNvCxnSpPr>
              <a:cxnSpLocks/>
            </p:cNvCxnSpPr>
            <p:nvPr/>
          </p:nvCxnSpPr>
          <p:spPr>
            <a:xfrm>
              <a:off x="1320468" y="3583694"/>
              <a:ext cx="7356642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="" xmlns:a16="http://schemas.microsoft.com/office/drawing/2014/main" id="{B39241A8-97AB-4A84-8E7F-140CE5FF10FD}"/>
                </a:ext>
              </a:extLst>
            </p:cNvPr>
            <p:cNvCxnSpPr>
              <a:cxnSpLocks/>
            </p:cNvCxnSpPr>
            <p:nvPr/>
          </p:nvCxnSpPr>
          <p:spPr>
            <a:xfrm>
              <a:off x="1320468" y="3583694"/>
              <a:ext cx="7356642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101108" y="3761234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9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575821" y="3761234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1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101108" y="3886470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1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575821" y="3886470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3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101108" y="4011706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24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575821" y="4011706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1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101108" y="4136942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575821" y="4136942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39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101108" y="4262180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CEO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sp>
          <p:nvSpPr>
            <p:cNvPr id="140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575821" y="4262180"/>
              <a:ext cx="1416684" cy="13778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dirty="0" smtClean="0">
                  <a:solidFill>
                    <a:schemeClr val="tx2"/>
                  </a:solidFill>
                </a:rPr>
                <a:t>TOP MANAGEMENT</a:t>
              </a:r>
              <a:endParaRPr kumimoji="1" lang="en-US" altLang="ja-JP" sz="500" dirty="0">
                <a:solidFill>
                  <a:schemeClr val="tx2"/>
                </a:solidFill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1314062" y="3603248"/>
              <a:ext cx="748146" cy="796712"/>
              <a:chOff x="1314062" y="3603248"/>
              <a:chExt cx="1416684" cy="796712"/>
            </a:xfrm>
          </p:grpSpPr>
          <p:sp>
            <p:nvSpPr>
              <p:cNvPr id="86" name="正方形/長方形 4">
                <a:extLst>
                  <a:ext uri="{FF2B5EF4-FFF2-40B4-BE49-F238E27FC236}">
                    <a16:creationId xmlns="" xmlns:a16="http://schemas.microsoft.com/office/drawing/2014/main" id="{47168B4D-8BA1-4423-8C20-D5EFB53AFCEF}"/>
                  </a:ext>
                </a:extLst>
              </p:cNvPr>
              <p:cNvSpPr/>
              <p:nvPr/>
            </p:nvSpPr>
            <p:spPr>
              <a:xfrm>
                <a:off x="1314062" y="3761234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TRAN VAN A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7" name="正方形/長方形 4">
                <a:extLst>
                  <a:ext uri="{FF2B5EF4-FFF2-40B4-BE49-F238E27FC236}">
                    <a16:creationId xmlns="" xmlns:a16="http://schemas.microsoft.com/office/drawing/2014/main" id="{47168B4D-8BA1-4423-8C20-D5EFB53AFCEF}"/>
                  </a:ext>
                </a:extLst>
              </p:cNvPr>
              <p:cNvSpPr/>
              <p:nvPr/>
            </p:nvSpPr>
            <p:spPr>
              <a:xfrm>
                <a:off x="1314062" y="3886470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TRAN VAN A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2" name="正方形/長方形 4">
                <a:extLst>
                  <a:ext uri="{FF2B5EF4-FFF2-40B4-BE49-F238E27FC236}">
                    <a16:creationId xmlns="" xmlns:a16="http://schemas.microsoft.com/office/drawing/2014/main" id="{47168B4D-8BA1-4423-8C20-D5EFB53AFCEF}"/>
                  </a:ext>
                </a:extLst>
              </p:cNvPr>
              <p:cNvSpPr/>
              <p:nvPr/>
            </p:nvSpPr>
            <p:spPr>
              <a:xfrm>
                <a:off x="1314062" y="4011706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TRAN VAN A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0" name="正方形/長方形 4">
                <a:extLst>
                  <a:ext uri="{FF2B5EF4-FFF2-40B4-BE49-F238E27FC236}">
                    <a16:creationId xmlns="" xmlns:a16="http://schemas.microsoft.com/office/drawing/2014/main" id="{47168B4D-8BA1-4423-8C20-D5EFB53AFCEF}"/>
                  </a:ext>
                </a:extLst>
              </p:cNvPr>
              <p:cNvSpPr/>
              <p:nvPr/>
            </p:nvSpPr>
            <p:spPr>
              <a:xfrm>
                <a:off x="1314062" y="4136942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TRAN VAN A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8" name="正方形/長方形 4">
                <a:extLst>
                  <a:ext uri="{FF2B5EF4-FFF2-40B4-BE49-F238E27FC236}">
                    <a16:creationId xmlns="" xmlns:a16="http://schemas.microsoft.com/office/drawing/2014/main" id="{47168B4D-8BA1-4423-8C20-D5EFB53AFCEF}"/>
                  </a:ext>
                </a:extLst>
              </p:cNvPr>
              <p:cNvSpPr/>
              <p:nvPr/>
            </p:nvSpPr>
            <p:spPr>
              <a:xfrm>
                <a:off x="1314062" y="4262180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TRAN VAN A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9" name="正方形/長方形 4">
                <a:extLst>
                  <a:ext uri="{FF2B5EF4-FFF2-40B4-BE49-F238E27FC236}">
                    <a16:creationId xmlns="" xmlns:a16="http://schemas.microsoft.com/office/drawing/2014/main" id="{47168B4D-8BA1-4423-8C20-D5EFB53AFCEF}"/>
                  </a:ext>
                </a:extLst>
              </p:cNvPr>
              <p:cNvSpPr/>
              <p:nvPr/>
            </p:nvSpPr>
            <p:spPr>
              <a:xfrm>
                <a:off x="1314062" y="3603248"/>
                <a:ext cx="1416684" cy="1515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b="1" dirty="0" smtClean="0">
                    <a:solidFill>
                      <a:schemeClr val="tx2"/>
                    </a:solidFill>
                  </a:rPr>
                  <a:t>POST DATE</a:t>
                </a:r>
                <a:endParaRPr kumimoji="1" lang="en-US" altLang="ja-JP" sz="5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0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101108" y="3603248"/>
              <a:ext cx="1416684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OSI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201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575821" y="3603248"/>
              <a:ext cx="1416684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FUNC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5050534" y="3603248"/>
              <a:ext cx="3669483" cy="796712"/>
              <a:chOff x="5738203" y="3603248"/>
              <a:chExt cx="1416684" cy="796712"/>
            </a:xfrm>
          </p:grpSpPr>
          <p:sp>
            <p:nvSpPr>
              <p:cNvPr id="95" name="正方形/長方形 4">
                <a:extLst>
                  <a:ext uri="{FF2B5EF4-FFF2-40B4-BE49-F238E27FC236}">
                    <a16:creationId xmlns="" xmlns:a16="http://schemas.microsoft.com/office/drawing/2014/main" id="{00598230-F870-4ED6-A48B-F2F2EB0ACDC3}"/>
                  </a:ext>
                </a:extLst>
              </p:cNvPr>
              <p:cNvSpPr/>
              <p:nvPr/>
            </p:nvSpPr>
            <p:spPr>
              <a:xfrm>
                <a:off x="5738203" y="3761234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M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正方形/長方形 4">
                <a:extLst>
                  <a:ext uri="{FF2B5EF4-FFF2-40B4-BE49-F238E27FC236}">
                    <a16:creationId xmlns="" xmlns:a16="http://schemas.microsoft.com/office/drawing/2014/main" id="{00598230-F870-4ED6-A48B-F2F2EB0ACDC3}"/>
                  </a:ext>
                </a:extLst>
              </p:cNvPr>
              <p:cNvSpPr/>
              <p:nvPr/>
            </p:nvSpPr>
            <p:spPr>
              <a:xfrm>
                <a:off x="5738203" y="3886470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M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25" name="正方形/長方形 4">
                <a:extLst>
                  <a:ext uri="{FF2B5EF4-FFF2-40B4-BE49-F238E27FC236}">
                    <a16:creationId xmlns="" xmlns:a16="http://schemas.microsoft.com/office/drawing/2014/main" id="{00598230-F870-4ED6-A48B-F2F2EB0ACDC3}"/>
                  </a:ext>
                </a:extLst>
              </p:cNvPr>
              <p:cNvSpPr/>
              <p:nvPr/>
            </p:nvSpPr>
            <p:spPr>
              <a:xfrm>
                <a:off x="5738203" y="4011706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M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3" name="正方形/長方形 4">
                <a:extLst>
                  <a:ext uri="{FF2B5EF4-FFF2-40B4-BE49-F238E27FC236}">
                    <a16:creationId xmlns="" xmlns:a16="http://schemas.microsoft.com/office/drawing/2014/main" id="{00598230-F870-4ED6-A48B-F2F2EB0ACDC3}"/>
                  </a:ext>
                </a:extLst>
              </p:cNvPr>
              <p:cNvSpPr/>
              <p:nvPr/>
            </p:nvSpPr>
            <p:spPr>
              <a:xfrm>
                <a:off x="5738203" y="4136942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M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41" name="正方形/長方形 4">
                <a:extLst>
                  <a:ext uri="{FF2B5EF4-FFF2-40B4-BE49-F238E27FC236}">
                    <a16:creationId xmlns="" xmlns:a16="http://schemas.microsoft.com/office/drawing/2014/main" id="{00598230-F870-4ED6-A48B-F2F2EB0ACDC3}"/>
                  </a:ext>
                </a:extLst>
              </p:cNvPr>
              <p:cNvSpPr/>
              <p:nvPr/>
            </p:nvSpPr>
            <p:spPr>
              <a:xfrm>
                <a:off x="5738203" y="4262180"/>
                <a:ext cx="1416684" cy="137780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dirty="0" smtClean="0">
                    <a:solidFill>
                      <a:schemeClr val="tx2"/>
                    </a:solidFill>
                  </a:rPr>
                  <a:t>M</a:t>
                </a:r>
                <a:endParaRPr kumimoji="1" lang="en-US" altLang="ja-JP" sz="5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02" name="正方形/長方形 4">
                <a:extLst>
                  <a:ext uri="{FF2B5EF4-FFF2-40B4-BE49-F238E27FC236}">
                    <a16:creationId xmlns="" xmlns:a16="http://schemas.microsoft.com/office/drawing/2014/main" id="{00598230-F870-4ED6-A48B-F2F2EB0ACDC3}"/>
                  </a:ext>
                </a:extLst>
              </p:cNvPr>
              <p:cNvSpPr/>
              <p:nvPr/>
            </p:nvSpPr>
            <p:spPr>
              <a:xfrm>
                <a:off x="5738203" y="3603248"/>
                <a:ext cx="1416684" cy="1515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9700" tIns="29700" rIns="29700" bIns="29700" rtlCol="0" anchor="ctr">
                <a:noAutofit/>
              </a:bodyPr>
              <a:lstStyle/>
              <a:p>
                <a:pPr algn="ctr"/>
                <a:r>
                  <a:rPr kumimoji="1" lang="en-US" altLang="ja-JP" sz="500" b="1" dirty="0" smtClean="0">
                    <a:solidFill>
                      <a:schemeClr val="tx2"/>
                    </a:solidFill>
                  </a:rPr>
                  <a:t>DESCRIPTION</a:t>
                </a:r>
                <a:endParaRPr kumimoji="1" lang="en-US" altLang="ja-JP" sz="500" b="1" dirty="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58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445024" y="1149896"/>
            <a:ext cx="13221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41678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Image result for southeast asia map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5"/>
          <a:stretch/>
        </p:blipFill>
        <p:spPr bwMode="auto">
          <a:xfrm>
            <a:off x="1192228" y="2518047"/>
            <a:ext cx="6264696" cy="373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192228" y="1725960"/>
            <a:ext cx="7619888" cy="79208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endParaRPr kumimoji="1" lang="en-US" altLang="ja-JP" sz="1200" b="1" dirty="0">
              <a:solidFill>
                <a:schemeClr val="accent5"/>
              </a:solidFill>
            </a:endParaRPr>
          </a:p>
        </p:txBody>
      </p:sp>
      <p:sp>
        <p:nvSpPr>
          <p:cNvPr id="7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957192" y="1831241"/>
            <a:ext cx="1507555" cy="2294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i="1" dirty="0" smtClean="0">
                <a:solidFill>
                  <a:schemeClr val="accent5"/>
                </a:solidFill>
              </a:rPr>
              <a:t>Username</a:t>
            </a:r>
            <a:endParaRPr kumimoji="1" lang="en-US" altLang="ja-JP" sz="1050" i="1" dirty="0">
              <a:solidFill>
                <a:schemeClr val="accent5"/>
              </a:solidFill>
            </a:endParaRPr>
          </a:p>
        </p:txBody>
      </p:sp>
      <p:sp>
        <p:nvSpPr>
          <p:cNvPr id="7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507500" y="1831241"/>
            <a:ext cx="1370505" cy="2294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i="1" dirty="0" smtClean="0">
                <a:solidFill>
                  <a:schemeClr val="accent5"/>
                </a:solidFill>
              </a:rPr>
              <a:t>password</a:t>
            </a:r>
            <a:endParaRPr kumimoji="1" lang="en-US" altLang="ja-JP" sz="1050" i="1" dirty="0">
              <a:solidFill>
                <a:schemeClr val="accent5"/>
              </a:solidFill>
            </a:endParaRPr>
          </a:p>
        </p:txBody>
      </p:sp>
      <p:sp>
        <p:nvSpPr>
          <p:cNvPr id="7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956381" y="1831241"/>
            <a:ext cx="639351" cy="229440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1050" dirty="0" smtClean="0">
                <a:solidFill>
                  <a:schemeClr val="bg1"/>
                </a:solidFill>
              </a:rPr>
              <a:t>LOGIN</a:t>
            </a:r>
            <a:endParaRPr kumimoji="1" lang="en-US" altLang="ja-JP" sz="1050" dirty="0">
              <a:solidFill>
                <a:schemeClr val="bg1"/>
              </a:solidFill>
            </a:endParaRPr>
          </a:p>
        </p:txBody>
      </p:sp>
      <p:sp>
        <p:nvSpPr>
          <p:cNvPr id="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965659" y="2139148"/>
            <a:ext cx="168359" cy="18962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endParaRPr kumimoji="1" lang="en-US" altLang="ja-JP" sz="1050" i="1" dirty="0">
              <a:solidFill>
                <a:schemeClr val="accent5"/>
              </a:solidFill>
            </a:endParaRPr>
          </a:p>
        </p:txBody>
      </p:sp>
      <p:sp>
        <p:nvSpPr>
          <p:cNvPr id="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67886" y="2139148"/>
            <a:ext cx="1245916" cy="18962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900" i="1" dirty="0" smtClean="0">
                <a:solidFill>
                  <a:schemeClr val="accent5"/>
                </a:solidFill>
              </a:rPr>
              <a:t>Remember me?</a:t>
            </a:r>
            <a:endParaRPr kumimoji="1" lang="en-US" altLang="ja-JP" sz="900" i="1" dirty="0">
              <a:solidFill>
                <a:schemeClr val="accent5"/>
              </a:solidFill>
            </a:endParaRPr>
          </a:p>
        </p:txBody>
      </p:sp>
      <p:sp>
        <p:nvSpPr>
          <p:cNvPr id="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723524" y="2139148"/>
            <a:ext cx="1132651" cy="18962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i="1" dirty="0" smtClean="0">
                <a:solidFill>
                  <a:schemeClr val="accent5"/>
                </a:solidFill>
              </a:rPr>
              <a:t>Forgot password?</a:t>
            </a:r>
            <a:endParaRPr kumimoji="1" lang="en-US" altLang="ja-JP" sz="900" i="1" dirty="0">
              <a:solidFill>
                <a:schemeClr val="accent5"/>
              </a:solidFill>
            </a:endParaRPr>
          </a:p>
        </p:txBody>
      </p:sp>
      <p:sp>
        <p:nvSpPr>
          <p:cNvPr id="7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7201" y="2662064"/>
            <a:ext cx="3554734" cy="59510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1600" b="1" dirty="0" smtClean="0">
                <a:solidFill>
                  <a:schemeClr val="accent5"/>
                </a:solidFill>
              </a:rPr>
              <a:t>VINTELLO GROWTH PLATFORM</a:t>
            </a:r>
            <a:endParaRPr kumimoji="1" lang="en-US" altLang="ja-JP" sz="1600" b="1" dirty="0">
              <a:solidFill>
                <a:schemeClr val="accent5"/>
              </a:solidFill>
            </a:endParaRPr>
          </a:p>
        </p:txBody>
      </p:sp>
      <p:sp>
        <p:nvSpPr>
          <p:cNvPr id="8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7201" y="3094112"/>
            <a:ext cx="3554734" cy="3695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1050" b="1" dirty="0" smtClean="0">
                <a:solidFill>
                  <a:schemeClr val="accent5"/>
                </a:solidFill>
              </a:rPr>
              <a:t>Connecting businesses. Discover growth opportunity.</a:t>
            </a:r>
            <a:endParaRPr kumimoji="1" lang="en-US" altLang="ja-JP" sz="1050" b="1" dirty="0">
              <a:solidFill>
                <a:schemeClr val="accent5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20688" y="304170"/>
            <a:ext cx="8928100" cy="654968"/>
          </a:xfrm>
          <a:prstGeom prst="rect">
            <a:avLst/>
          </a:prstGeom>
        </p:spPr>
        <p:txBody>
          <a:bodyPr/>
          <a:lstStyle>
            <a:lvl1pPr algn="l" defTabSz="1018824" rtl="0" eaLnBrk="1" latinLnBrk="0" hangingPunct="1"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User </a:t>
            </a:r>
            <a:r>
              <a:rPr lang="en-US" dirty="0" smtClean="0"/>
              <a:t>login/Registration  -  4h :  setup layout ( 3h), cut page (1h) 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631695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>
                <a:solidFill>
                  <a:schemeClr val="tx2"/>
                </a:solidFill>
              </a:rPr>
              <a:t>CONG TY CO PHAN SAN XUAT - THUONG MAI - NHUA HIEP THANH </a:t>
            </a: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sp>
        <p:nvSpPr>
          <p:cNvPr id="8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DASHBOARD</a:t>
            </a:r>
          </a:p>
        </p:txBody>
      </p:sp>
      <p:sp>
        <p:nvSpPr>
          <p:cNvPr id="9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INDENTIFICATION</a:t>
            </a:r>
          </a:p>
        </p:txBody>
      </p:sp>
      <p:sp>
        <p:nvSpPr>
          <p:cNvPr id="10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EXECUTIVES</a:t>
            </a:r>
          </a:p>
        </p:txBody>
      </p:sp>
      <p:sp>
        <p:nvSpPr>
          <p:cNvPr id="11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RPORATE STRUCTURE</a:t>
            </a:r>
          </a:p>
        </p:txBody>
      </p:sp>
      <p:sp>
        <p:nvSpPr>
          <p:cNvPr id="12" name="正方形/長方形 4">
            <a:extLst>
              <a:ext uri="{FF2B5EF4-FFF2-40B4-BE49-F238E27FC236}">
                <a16:creationId xmlns="" xmlns:a16="http://schemas.microsoft.com/office/drawing/2014/main" id="{8F7145A6-1306-48D6-B75D-447E5548234F}"/>
              </a:ext>
            </a:extLst>
          </p:cNvPr>
          <p:cNvSpPr/>
          <p:nvPr/>
        </p:nvSpPr>
        <p:spPr>
          <a:xfrm>
            <a:off x="4462243" y="3326794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BUSINESS SUMMARY</a:t>
            </a:r>
          </a:p>
        </p:txBody>
      </p:sp>
      <p:sp>
        <p:nvSpPr>
          <p:cNvPr id="17" name="正方形/長方形 4">
            <a:extLst>
              <a:ext uri="{FF2B5EF4-FFF2-40B4-BE49-F238E27FC236}">
                <a16:creationId xmlns="" xmlns:a16="http://schemas.microsoft.com/office/drawing/2014/main" id="{68B2036A-D097-400B-BE93-0577174D4D2C}"/>
              </a:ext>
            </a:extLst>
          </p:cNvPr>
          <p:cNvSpPr/>
          <p:nvPr/>
        </p:nvSpPr>
        <p:spPr>
          <a:xfrm>
            <a:off x="5227322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" name="正方形/長方形 4">
            <a:extLst>
              <a:ext uri="{FF2B5EF4-FFF2-40B4-BE49-F238E27FC236}">
                <a16:creationId xmlns="" xmlns:a16="http://schemas.microsoft.com/office/drawing/2014/main" id="{C8B9C621-C20A-4F39-BEFF-6713521A528E}"/>
              </a:ext>
            </a:extLst>
          </p:cNvPr>
          <p:cNvSpPr/>
          <p:nvPr/>
        </p:nvSpPr>
        <p:spPr>
          <a:xfrm>
            <a:off x="6014367" y="3326794"/>
            <a:ext cx="770112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JOBS</a:t>
            </a:r>
          </a:p>
        </p:txBody>
      </p:sp>
      <p:sp>
        <p:nvSpPr>
          <p:cNvPr id="36" name="正方形/長方形 4">
            <a:extLst>
              <a:ext uri="{FF2B5EF4-FFF2-40B4-BE49-F238E27FC236}">
                <a16:creationId xmlns="" xmlns:a16="http://schemas.microsoft.com/office/drawing/2014/main" id="{4CEAFF08-3CCE-4E15-86D9-B2D8D6504EB3}"/>
              </a:ext>
            </a:extLst>
          </p:cNvPr>
          <p:cNvSpPr/>
          <p:nvPr/>
        </p:nvSpPr>
        <p:spPr>
          <a:xfrm>
            <a:off x="6809529" y="3326794"/>
            <a:ext cx="770112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RELATED NEW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>
                <a:solidFill>
                  <a:schemeClr val="tx2"/>
                </a:solidFill>
              </a:rPr>
              <a:t>HIEP THANH PLASTIC - TRADING - MANUFACTURING JOINT STOCK COMPANY </a:t>
            </a: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>
                <a:solidFill>
                  <a:schemeClr val="tx2"/>
                </a:solidFill>
              </a:rPr>
              <a:t>MST - 0301343138 </a:t>
            </a:r>
          </a:p>
        </p:txBody>
      </p:sp>
      <p:sp>
        <p:nvSpPr>
          <p:cNvPr id="39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5073439" y="2635288"/>
            <a:ext cx="364657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000" dirty="0">
                <a:solidFill>
                  <a:schemeClr val="tx2"/>
                </a:solidFill>
              </a:rPr>
              <a:t>JOINT STOCK COMPANY</a:t>
            </a: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589924" y="2635288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DUNS - </a:t>
            </a:r>
            <a:r>
              <a:rPr kumimoji="1" lang="en-US" altLang="ja-JP" sz="1000" dirty="0">
                <a:solidFill>
                  <a:schemeClr val="tx2"/>
                </a:solidFill>
              </a:rPr>
              <a:t>0301343138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3583694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正方形/長方形 4">
            <a:extLst>
              <a:ext uri="{FF2B5EF4-FFF2-40B4-BE49-F238E27FC236}">
                <a16:creationId xmlns="" xmlns:a16="http://schemas.microsoft.com/office/drawing/2014/main" id="{171F40D1-BFB1-4D25-94C8-740ABE226C61}"/>
              </a:ext>
            </a:extLst>
          </p:cNvPr>
          <p:cNvSpPr/>
          <p:nvPr/>
        </p:nvSpPr>
        <p:spPr>
          <a:xfrm>
            <a:off x="1307447" y="3627802"/>
            <a:ext cx="3658778" cy="247807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155" b="1" dirty="0">
                <a:solidFill>
                  <a:schemeClr val="tx2"/>
                </a:solidFill>
              </a:rPr>
              <a:t>RECENT ACTIVITIES</a:t>
            </a:r>
          </a:p>
        </p:txBody>
      </p:sp>
      <p:pic>
        <p:nvPicPr>
          <p:cNvPr id="53" name="Picture 1">
            <a:extLst>
              <a:ext uri="{FF2B5EF4-FFF2-40B4-BE49-F238E27FC236}">
                <a16:creationId xmlns="" xmlns:a16="http://schemas.microsoft.com/office/drawing/2014/main" id="{2A431DDA-016F-47CD-B4FF-75C362BA81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0344" y="3800386"/>
            <a:ext cx="3241791" cy="2173549"/>
          </a:xfrm>
          <a:prstGeom prst="rect">
            <a:avLst/>
          </a:prstGeom>
        </p:spPr>
      </p:pic>
      <p:sp>
        <p:nvSpPr>
          <p:cNvPr id="54" name="正方形/長方形 4">
            <a:extLst>
              <a:ext uri="{FF2B5EF4-FFF2-40B4-BE49-F238E27FC236}">
                <a16:creationId xmlns="" xmlns:a16="http://schemas.microsoft.com/office/drawing/2014/main" id="{CEBAFECC-1836-4D27-AE4A-727E46A3EAB9}"/>
              </a:ext>
            </a:extLst>
          </p:cNvPr>
          <p:cNvSpPr/>
          <p:nvPr/>
        </p:nvSpPr>
        <p:spPr>
          <a:xfrm>
            <a:off x="5092175" y="3627802"/>
            <a:ext cx="3658778" cy="247807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155" b="1" dirty="0">
                <a:solidFill>
                  <a:schemeClr val="tx2"/>
                </a:solidFill>
              </a:rPr>
              <a:t>RECENT ACTIVITIES</a:t>
            </a:r>
          </a:p>
        </p:txBody>
      </p:sp>
      <p:sp>
        <p:nvSpPr>
          <p:cNvPr id="56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445024" y="1149896"/>
            <a:ext cx="13221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1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06055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ext Placeholder 1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dirty="0"/>
              <a:t>Section </a:t>
            </a:r>
            <a:r>
              <a:rPr lang="en-GB" dirty="0" smtClean="0"/>
              <a:t>1.4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dirty="0" smtClean="0"/>
              <a:t>User Interface</a:t>
            </a:r>
            <a:br>
              <a:rPr lang="en-GB" dirty="0" smtClean="0"/>
            </a:br>
            <a:r>
              <a:rPr lang="en-GB" dirty="0" smtClean="0"/>
              <a:t>– People Details</a:t>
            </a:r>
            <a:endParaRPr lang="en-GB" dirty="0"/>
          </a:p>
        </p:txBody>
      </p:sp>
      <p:sp>
        <p:nvSpPr>
          <p:cNvPr id="56" name="Slide Number Placeholder 55">
            <a:extLst>
              <a:ext uri="{FF2B5EF4-FFF2-40B4-BE49-F238E27FC236}">
                <a16:creationId xmlns="" xmlns:a16="http://schemas.microsoft.com/office/drawing/2014/main" id="{C735F98E-EBD8-4BB8-BE37-18C5687752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D5A39AF-FEF5-47AB-AA80-4C0BD4A8B092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51" name="Section Footer"/>
          <p:cNvSpPr txBox="1"/>
          <p:nvPr>
            <p:custDataLst>
              <p:tags r:id="rId5"/>
            </p:custDataLst>
          </p:nvPr>
        </p:nvSpPr>
        <p:spPr>
          <a:xfrm>
            <a:off x="537495" y="7136702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>
                <a:solidFill>
                  <a:schemeClr val="tx1"/>
                </a:solidFill>
              </a:rPr>
              <a:t>Project Diamond • Market attractiveness assess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402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08337" y="2230016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400" b="1" dirty="0" smtClean="0">
                <a:solidFill>
                  <a:schemeClr val="tx2"/>
                </a:solidFill>
              </a:rPr>
              <a:t>CONTACT NAME</a:t>
            </a:r>
            <a:endParaRPr kumimoji="1" lang="en-US" altLang="ja-JP" sz="1400" b="1" dirty="0">
              <a:solidFill>
                <a:schemeClr val="tx2"/>
              </a:solidFill>
            </a:endParaRPr>
          </a:p>
        </p:txBody>
      </p:sp>
      <p:sp>
        <p:nvSpPr>
          <p:cNvPr id="6" name="正方形/長方形 4">
            <a:extLst>
              <a:ext uri="{FF2B5EF4-FFF2-40B4-BE49-F238E27FC236}">
                <a16:creationId xmlns="" xmlns:a16="http://schemas.microsoft.com/office/drawing/2014/main" id="{7067EDB4-7CBC-4D07-908D-9E3C5CBC20BA}"/>
              </a:ext>
            </a:extLst>
          </p:cNvPr>
          <p:cNvSpPr/>
          <p:nvPr/>
        </p:nvSpPr>
        <p:spPr>
          <a:xfrm>
            <a:off x="1315632" y="2989633"/>
            <a:ext cx="7404386" cy="25905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700" b="1" dirty="0">
                <a:solidFill>
                  <a:schemeClr val="tx2"/>
                </a:solidFill>
              </a:rPr>
              <a:t>TAGS</a:t>
            </a:r>
          </a:p>
        </p:txBody>
      </p:sp>
      <p:sp>
        <p:nvSpPr>
          <p:cNvPr id="37" name="正方形/長方形 4">
            <a:extLst>
              <a:ext uri="{FF2B5EF4-FFF2-40B4-BE49-F238E27FC236}">
                <a16:creationId xmlns="" xmlns:a16="http://schemas.microsoft.com/office/drawing/2014/main" id="{A096429C-0D6A-40FC-8ED7-5B57C8538B15}"/>
              </a:ext>
            </a:extLst>
          </p:cNvPr>
          <p:cNvSpPr/>
          <p:nvPr/>
        </p:nvSpPr>
        <p:spPr>
          <a:xfrm>
            <a:off x="1308337" y="2434005"/>
            <a:ext cx="6843736" cy="1826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50" b="1" dirty="0" smtClean="0">
                <a:solidFill>
                  <a:schemeClr val="tx2"/>
                </a:solidFill>
              </a:rPr>
              <a:t>Headline</a:t>
            </a:r>
            <a:endParaRPr kumimoji="1" lang="en-US" altLang="ja-JP" sz="1050" b="1" dirty="0">
              <a:solidFill>
                <a:schemeClr val="tx2"/>
              </a:solidFill>
            </a:endParaRPr>
          </a:p>
        </p:txBody>
      </p:sp>
      <p:sp>
        <p:nvSpPr>
          <p:cNvPr id="3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1308337" y="2590056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Current company</a:t>
            </a:r>
            <a:endParaRPr kumimoji="1" lang="en-US" altLang="ja-JP" sz="1000" dirty="0">
              <a:solidFill>
                <a:schemeClr val="tx2"/>
              </a:solidFill>
            </a:endParaRPr>
          </a:p>
        </p:txBody>
      </p:sp>
      <p:sp>
        <p:nvSpPr>
          <p:cNvPr id="40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7942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1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93210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2" name="正方形/長方形 4">
            <a:extLst>
              <a:ext uri="{FF2B5EF4-FFF2-40B4-BE49-F238E27FC236}">
                <a16:creationId xmlns="" xmlns:a16="http://schemas.microsoft.com/office/drawing/2014/main" id="{EFB3A92A-3392-4FCA-9D43-63EAD9DB6FA7}"/>
              </a:ext>
            </a:extLst>
          </p:cNvPr>
          <p:cNvSpPr/>
          <p:nvPr/>
        </p:nvSpPr>
        <p:spPr>
          <a:xfrm>
            <a:off x="328624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3" name="正方形/長方形 4">
            <a:extLst>
              <a:ext uri="{FF2B5EF4-FFF2-40B4-BE49-F238E27FC236}">
                <a16:creationId xmlns="" xmlns:a16="http://schemas.microsoft.com/office/drawing/2014/main" id="{18953192-AC75-4C43-95C5-801A46A6BE3F}"/>
              </a:ext>
            </a:extLst>
          </p:cNvPr>
          <p:cNvSpPr/>
          <p:nvPr/>
        </p:nvSpPr>
        <p:spPr>
          <a:xfrm>
            <a:off x="4067088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47" name="正方形/長方形 4">
            <a:extLst>
              <a:ext uri="{FF2B5EF4-FFF2-40B4-BE49-F238E27FC236}">
                <a16:creationId xmlns="" xmlns:a16="http://schemas.microsoft.com/office/drawing/2014/main" id="{683E8147-4B9D-4427-851B-63240A379882}"/>
              </a:ext>
            </a:extLst>
          </p:cNvPr>
          <p:cNvSpPr/>
          <p:nvPr/>
        </p:nvSpPr>
        <p:spPr>
          <a:xfrm>
            <a:off x="1662957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MA NGANH</a:t>
            </a:r>
          </a:p>
        </p:txBody>
      </p:sp>
      <p:sp>
        <p:nvSpPr>
          <p:cNvPr id="48" name="正方形/長方形 4">
            <a:extLst>
              <a:ext uri="{FF2B5EF4-FFF2-40B4-BE49-F238E27FC236}">
                <a16:creationId xmlns="" xmlns:a16="http://schemas.microsoft.com/office/drawing/2014/main" id="{57F89949-820B-42FC-A37A-DC3B6141AD40}"/>
              </a:ext>
            </a:extLst>
          </p:cNvPr>
          <p:cNvSpPr/>
          <p:nvPr/>
        </p:nvSpPr>
        <p:spPr>
          <a:xfrm>
            <a:off x="2476739" y="3043366"/>
            <a:ext cx="700103" cy="16671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ABC</a:t>
            </a:r>
          </a:p>
        </p:txBody>
      </p: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2868960" y="2590056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Function</a:t>
            </a:r>
            <a:endParaRPr kumimoji="1" lang="en-US" altLang="ja-JP" sz="1000" dirty="0">
              <a:solidFill>
                <a:schemeClr val="tx2"/>
              </a:solidFill>
            </a:endParaRP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6060865" y="2590056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Email </a:t>
            </a:r>
            <a:endParaRPr kumimoji="1" lang="en-US" altLang="ja-JP" sz="1000" dirty="0">
              <a:solidFill>
                <a:schemeClr val="tx2"/>
              </a:solidFill>
            </a:endParaRPr>
          </a:p>
        </p:txBody>
      </p:sp>
      <p:sp>
        <p:nvSpPr>
          <p:cNvPr id="28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7479773" y="2590056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Phone</a:t>
            </a:r>
            <a:endParaRPr kumimoji="1" lang="en-US" altLang="ja-JP" sz="1000" dirty="0">
              <a:solidFill>
                <a:schemeClr val="tx2"/>
              </a:solidFill>
            </a:endParaRPr>
          </a:p>
        </p:txBody>
      </p:sp>
      <p:sp>
        <p:nvSpPr>
          <p:cNvPr id="29" name="正方形/長方形 4">
            <a:extLst>
              <a:ext uri="{FF2B5EF4-FFF2-40B4-BE49-F238E27FC236}">
                <a16:creationId xmlns="" xmlns:a16="http://schemas.microsoft.com/office/drawing/2014/main" id="{9E4C65B4-AF10-4486-BD43-9525E15E14D9}"/>
              </a:ext>
            </a:extLst>
          </p:cNvPr>
          <p:cNvSpPr/>
          <p:nvPr/>
        </p:nvSpPr>
        <p:spPr>
          <a:xfrm>
            <a:off x="4345525" y="2590056"/>
            <a:ext cx="1344599" cy="1918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tx2"/>
                </a:solidFill>
              </a:rPr>
              <a:t>Seniority</a:t>
            </a:r>
            <a:endParaRPr kumimoji="1" lang="en-US" altLang="ja-JP" sz="1000" dirty="0">
              <a:solidFill>
                <a:schemeClr val="tx2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31778" y="3294911"/>
            <a:ext cx="735664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正方形/長方形 4">
            <a:extLst>
              <a:ext uri="{FF2B5EF4-FFF2-40B4-BE49-F238E27FC236}">
                <a16:creationId xmlns="" xmlns:a16="http://schemas.microsoft.com/office/drawing/2014/main" id="{171F40D1-BFB1-4D25-94C8-740ABE226C61}"/>
              </a:ext>
            </a:extLst>
          </p:cNvPr>
          <p:cNvSpPr/>
          <p:nvPr/>
        </p:nvSpPr>
        <p:spPr>
          <a:xfrm>
            <a:off x="1307447" y="4587451"/>
            <a:ext cx="3658778" cy="160300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b="1" dirty="0" smtClean="0">
                <a:solidFill>
                  <a:schemeClr val="tx2"/>
                </a:solidFill>
              </a:rPr>
              <a:t>EXPERIENCES</a:t>
            </a:r>
            <a:endParaRPr kumimoji="1" lang="en-US" altLang="ja-JP" b="1" dirty="0">
              <a:solidFill>
                <a:schemeClr val="tx2"/>
              </a:solidFill>
            </a:endParaRPr>
          </a:p>
        </p:txBody>
      </p:sp>
      <p:sp>
        <p:nvSpPr>
          <p:cNvPr id="33" name="正方形/長方形 4">
            <a:extLst>
              <a:ext uri="{FF2B5EF4-FFF2-40B4-BE49-F238E27FC236}">
                <a16:creationId xmlns="" xmlns:a16="http://schemas.microsoft.com/office/drawing/2014/main" id="{CEBAFECC-1836-4D27-AE4A-727E46A3EAB9}"/>
              </a:ext>
            </a:extLst>
          </p:cNvPr>
          <p:cNvSpPr/>
          <p:nvPr/>
        </p:nvSpPr>
        <p:spPr>
          <a:xfrm>
            <a:off x="5092175" y="3330968"/>
            <a:ext cx="3658778" cy="119831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b="1" dirty="0" smtClean="0">
                <a:solidFill>
                  <a:schemeClr val="tx2"/>
                </a:solidFill>
              </a:rPr>
              <a:t>EDUCATION</a:t>
            </a:r>
            <a:endParaRPr kumimoji="1" lang="en-US" altLang="ja-JP" b="1" dirty="0">
              <a:solidFill>
                <a:schemeClr val="tx2"/>
              </a:solidFill>
            </a:endParaRPr>
          </a:p>
        </p:txBody>
      </p:sp>
      <p:sp>
        <p:nvSpPr>
          <p:cNvPr id="35" name="正方形/長方形 4">
            <a:extLst>
              <a:ext uri="{FF2B5EF4-FFF2-40B4-BE49-F238E27FC236}">
                <a16:creationId xmlns="" xmlns:a16="http://schemas.microsoft.com/office/drawing/2014/main" id="{E5521278-77E9-40CC-A660-7538D350D2E9}"/>
              </a:ext>
            </a:extLst>
          </p:cNvPr>
          <p:cNvSpPr/>
          <p:nvPr/>
        </p:nvSpPr>
        <p:spPr>
          <a:xfrm>
            <a:off x="1307447" y="3330968"/>
            <a:ext cx="3658778" cy="114867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b="1" dirty="0">
                <a:solidFill>
                  <a:schemeClr val="tx2"/>
                </a:solidFill>
              </a:rPr>
              <a:t>OVERVIE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chemeClr val="tx2"/>
                </a:solidFill>
              </a:rPr>
              <a:t>Years at current pos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chemeClr val="tx2"/>
                </a:solidFill>
              </a:rPr>
              <a:t>Years of experi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chemeClr val="tx2"/>
                </a:solidFill>
              </a:rPr>
              <a:t>Senior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chemeClr val="tx2"/>
                </a:solidFill>
              </a:rPr>
              <a:t>Specialties………………………………………………………………………………………………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chemeClr val="tx2"/>
              </a:solidFill>
            </a:endParaRPr>
          </a:p>
          <a:p>
            <a:endParaRPr kumimoji="1" lang="en-US" altLang="ja-JP" b="1" dirty="0">
              <a:solidFill>
                <a:schemeClr val="tx2"/>
              </a:solidFill>
            </a:endParaRPr>
          </a:p>
          <a:p>
            <a:endParaRPr kumimoji="1" lang="en-US" altLang="ja-JP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356792" y="4822304"/>
            <a:ext cx="3528392" cy="161152"/>
            <a:chOff x="1367714" y="4822304"/>
            <a:chExt cx="3638576" cy="151558"/>
          </a:xfrm>
        </p:grpSpPr>
        <p:sp>
          <p:nvSpPr>
            <p:cNvPr id="44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COMPANY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45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OSI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46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FUNC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49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URA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356792" y="5113418"/>
            <a:ext cx="3528392" cy="161152"/>
            <a:chOff x="1367714" y="4822304"/>
            <a:chExt cx="3638576" cy="151558"/>
          </a:xfrm>
          <a:noFill/>
        </p:grpSpPr>
        <p:sp>
          <p:nvSpPr>
            <p:cNvPr id="51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COMPANY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55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OSI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56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FUNC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57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URA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356792" y="5352417"/>
            <a:ext cx="3528392" cy="161152"/>
            <a:chOff x="1367714" y="4822304"/>
            <a:chExt cx="3638576" cy="151558"/>
          </a:xfrm>
          <a:noFill/>
        </p:grpSpPr>
        <p:sp>
          <p:nvSpPr>
            <p:cNvPr id="59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COMPANY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6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OSI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61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FUNC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6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URA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1356792" y="5591416"/>
            <a:ext cx="3528392" cy="161152"/>
            <a:chOff x="1367714" y="4822304"/>
            <a:chExt cx="3638576" cy="151558"/>
          </a:xfrm>
          <a:noFill/>
        </p:grpSpPr>
        <p:sp>
          <p:nvSpPr>
            <p:cNvPr id="64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COMPANY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65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OSI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66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FUNC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67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URA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1356792" y="5830416"/>
            <a:ext cx="3528392" cy="161152"/>
            <a:chOff x="1367714" y="4822304"/>
            <a:chExt cx="3638576" cy="151558"/>
          </a:xfrm>
          <a:noFill/>
        </p:grpSpPr>
        <p:sp>
          <p:nvSpPr>
            <p:cNvPr id="69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COMPANY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7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POSI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71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FUNC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7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URA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5153132" y="3591341"/>
            <a:ext cx="3528392" cy="161152"/>
            <a:chOff x="1367714" y="4822304"/>
            <a:chExt cx="3638576" cy="151558"/>
          </a:xfrm>
        </p:grpSpPr>
        <p:sp>
          <p:nvSpPr>
            <p:cNvPr id="74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INSTRITUTE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EGREE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76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SPECIALTY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77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DURATION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153132" y="3780855"/>
            <a:ext cx="3528392" cy="161152"/>
            <a:chOff x="1367714" y="4822304"/>
            <a:chExt cx="3638576" cy="151558"/>
          </a:xfrm>
          <a:noFill/>
        </p:grpSpPr>
        <p:sp>
          <p:nvSpPr>
            <p:cNvPr id="79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80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81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82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5153132" y="4019854"/>
            <a:ext cx="3528392" cy="161152"/>
            <a:chOff x="1367714" y="4822304"/>
            <a:chExt cx="3638576" cy="151558"/>
          </a:xfrm>
          <a:noFill/>
        </p:grpSpPr>
        <p:sp>
          <p:nvSpPr>
            <p:cNvPr id="84" name="正方形/長方形 4">
              <a:extLst>
                <a:ext uri="{FF2B5EF4-FFF2-40B4-BE49-F238E27FC236}">
                  <a16:creationId xmlns="" xmlns:a16="http://schemas.microsoft.com/office/drawing/2014/main" id="{47168B4D-8BA1-4423-8C20-D5EFB53AFCEF}"/>
                </a:ext>
              </a:extLst>
            </p:cNvPr>
            <p:cNvSpPr/>
            <p:nvPr/>
          </p:nvSpPr>
          <p:spPr>
            <a:xfrm>
              <a:off x="136771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85" name="正方形/長方形 4">
              <a:extLst>
                <a:ext uri="{FF2B5EF4-FFF2-40B4-BE49-F238E27FC236}">
                  <a16:creationId xmlns="" xmlns:a16="http://schemas.microsoft.com/office/drawing/2014/main" id="{5E09DC85-5A90-45B0-B83B-5338BE217A40}"/>
                </a:ext>
              </a:extLst>
            </p:cNvPr>
            <p:cNvSpPr/>
            <p:nvPr/>
          </p:nvSpPr>
          <p:spPr>
            <a:xfrm>
              <a:off x="2288249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86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3208784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  <p:sp>
          <p:nvSpPr>
            <p:cNvPr id="88" name="正方形/長方形 4">
              <a:extLst>
                <a:ext uri="{FF2B5EF4-FFF2-40B4-BE49-F238E27FC236}">
                  <a16:creationId xmlns="" xmlns:a16="http://schemas.microsoft.com/office/drawing/2014/main" id="{FD460403-C681-4E1E-B4CE-95FF2C41AB10}"/>
                </a:ext>
              </a:extLst>
            </p:cNvPr>
            <p:cNvSpPr/>
            <p:nvPr/>
          </p:nvSpPr>
          <p:spPr>
            <a:xfrm>
              <a:off x="4121978" y="4822304"/>
              <a:ext cx="884312" cy="151558"/>
            </a:xfrm>
            <a:prstGeom prst="rect">
              <a:avLst/>
            </a:prstGeom>
            <a:grp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sz="500" b="1" dirty="0" smtClean="0">
                  <a:solidFill>
                    <a:schemeClr val="tx2"/>
                  </a:solidFill>
                </a:rPr>
                <a:t>xxx</a:t>
              </a:r>
              <a:endParaRPr kumimoji="1" lang="en-US" altLang="ja-JP" sz="5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89" name="正方形/長方形 4">
            <a:extLst>
              <a:ext uri="{FF2B5EF4-FFF2-40B4-BE49-F238E27FC236}">
                <a16:creationId xmlns="" xmlns:a16="http://schemas.microsoft.com/office/drawing/2014/main" id="{CEBAFECC-1836-4D27-AE4A-727E46A3EAB9}"/>
              </a:ext>
            </a:extLst>
          </p:cNvPr>
          <p:cNvSpPr/>
          <p:nvPr/>
        </p:nvSpPr>
        <p:spPr>
          <a:xfrm>
            <a:off x="5092175" y="4582140"/>
            <a:ext cx="3658778" cy="77027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b="1" dirty="0" smtClean="0">
                <a:solidFill>
                  <a:schemeClr val="tx2"/>
                </a:solidFill>
              </a:rPr>
              <a:t>ACCOMPLISHMENT</a:t>
            </a:r>
            <a:endParaRPr kumimoji="1" lang="en-US" altLang="ja-JP" b="1" dirty="0">
              <a:solidFill>
                <a:schemeClr val="tx2"/>
              </a:solidFill>
            </a:endParaRPr>
          </a:p>
        </p:txBody>
      </p:sp>
      <p:sp>
        <p:nvSpPr>
          <p:cNvPr id="105" name="正方形/長方形 4">
            <a:extLst>
              <a:ext uri="{FF2B5EF4-FFF2-40B4-BE49-F238E27FC236}">
                <a16:creationId xmlns="" xmlns:a16="http://schemas.microsoft.com/office/drawing/2014/main" id="{CEBAFECC-1836-4D27-AE4A-727E46A3EAB9}"/>
              </a:ext>
            </a:extLst>
          </p:cNvPr>
          <p:cNvSpPr/>
          <p:nvPr/>
        </p:nvSpPr>
        <p:spPr>
          <a:xfrm>
            <a:off x="5092175" y="5405277"/>
            <a:ext cx="3658778" cy="77027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b="1" dirty="0" smtClean="0">
                <a:solidFill>
                  <a:schemeClr val="tx2"/>
                </a:solidFill>
              </a:rPr>
              <a:t>INTEREST</a:t>
            </a:r>
            <a:endParaRPr kumimoji="1" lang="en-US" altLang="ja-JP" b="1" dirty="0">
              <a:solidFill>
                <a:schemeClr val="tx2"/>
              </a:solidFill>
            </a:endParaRPr>
          </a:p>
        </p:txBody>
      </p:sp>
      <p:sp>
        <p:nvSpPr>
          <p:cNvPr id="107" name="正方形/長方形 4">
            <a:extLst>
              <a:ext uri="{FF2B5EF4-FFF2-40B4-BE49-F238E27FC236}">
                <a16:creationId xmlns="" xmlns:a16="http://schemas.microsoft.com/office/drawing/2014/main" id="{2D84A798-4D71-4A82-8F96-6625CFF318FE}"/>
              </a:ext>
            </a:extLst>
          </p:cNvPr>
          <p:cNvSpPr/>
          <p:nvPr/>
        </p:nvSpPr>
        <p:spPr>
          <a:xfrm>
            <a:off x="8052021" y="2230016"/>
            <a:ext cx="793603" cy="1585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700" dirty="0" smtClean="0">
                <a:solidFill>
                  <a:schemeClr val="tx2"/>
                </a:solidFill>
              </a:rPr>
              <a:t>Last Update </a:t>
            </a:r>
          </a:p>
          <a:p>
            <a:pPr algn="r"/>
            <a:r>
              <a:rPr kumimoji="1" lang="en-US" altLang="ja-JP" sz="700" i="1" dirty="0" smtClean="0">
                <a:solidFill>
                  <a:schemeClr val="tx2"/>
                </a:solidFill>
              </a:rPr>
              <a:t>12-3-2016</a:t>
            </a:r>
            <a:endParaRPr kumimoji="1" lang="en-US" altLang="ja-JP" sz="700" i="1" dirty="0">
              <a:solidFill>
                <a:schemeClr val="tx2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785062" y="3028042"/>
            <a:ext cx="844538" cy="210086"/>
            <a:chOff x="9589476" y="2590432"/>
            <a:chExt cx="2190515" cy="544909"/>
          </a:xfrm>
        </p:grpSpPr>
        <p:pic>
          <p:nvPicPr>
            <p:cNvPr id="90" name="Picture 6" descr="Image result for linkedi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9476" y="2605462"/>
              <a:ext cx="514848" cy="514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1" name="Picture 8" descr="Image result for facebook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73236" y="2590432"/>
              <a:ext cx="726545" cy="544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mage result for ANPHABE VIETNAM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768693" y="2602619"/>
              <a:ext cx="600746" cy="5205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Image result for VIETNAMWORK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188" t="6362" r="21223" b="29379"/>
            <a:stretch/>
          </p:blipFill>
          <p:spPr bwMode="auto">
            <a:xfrm>
              <a:off x="11338352" y="2620698"/>
              <a:ext cx="441639" cy="484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Rectangle 4"/>
          <p:cNvSpPr/>
          <p:nvPr/>
        </p:nvSpPr>
        <p:spPr>
          <a:xfrm>
            <a:off x="3445024" y="1077888"/>
            <a:ext cx="1322167" cy="3600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36605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193" name="Group 192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194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5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6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7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8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9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0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1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2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3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4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5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6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7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8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9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0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1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2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3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4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5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6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7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8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9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0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1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2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3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4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5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6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7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8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9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0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1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2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4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1941984"/>
            <a:ext cx="7610226" cy="79433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2000" b="1" dirty="0" smtClean="0">
                <a:solidFill>
                  <a:schemeClr val="accent5"/>
                </a:solidFill>
              </a:rPr>
              <a:t>Welcome to </a:t>
            </a:r>
            <a:r>
              <a:rPr kumimoji="1" lang="en-US" altLang="ja-JP" sz="2000" b="1" dirty="0" err="1" smtClean="0">
                <a:solidFill>
                  <a:schemeClr val="accent5"/>
                </a:solidFill>
              </a:rPr>
              <a:t>Vintello</a:t>
            </a:r>
            <a:r>
              <a:rPr kumimoji="1" lang="en-US" altLang="ja-JP" sz="2000" b="1" dirty="0" smtClean="0">
                <a:solidFill>
                  <a:schemeClr val="accent5"/>
                </a:solidFill>
              </a:rPr>
              <a:t> Growth </a:t>
            </a:r>
            <a:r>
              <a:rPr kumimoji="1" lang="en-US" altLang="ja-JP" sz="2000" b="1" dirty="0" smtClean="0">
                <a:solidFill>
                  <a:schemeClr val="accent5"/>
                </a:solidFill>
              </a:rPr>
              <a:t>Platform ( 2h)</a:t>
            </a:r>
            <a:endParaRPr kumimoji="1" lang="en-US" altLang="ja-JP" sz="2000" b="1" dirty="0">
              <a:solidFill>
                <a:schemeClr val="accent5"/>
              </a:solidFill>
            </a:endParaRPr>
          </a:p>
        </p:txBody>
      </p:sp>
      <p:sp>
        <p:nvSpPr>
          <p:cNvPr id="2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635212" y="4867491"/>
            <a:ext cx="1056243" cy="109232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700" b="1" dirty="0">
              <a:solidFill>
                <a:schemeClr val="accent5"/>
              </a:solidFill>
            </a:endParaRPr>
          </a:p>
        </p:txBody>
      </p:sp>
      <p:pic>
        <p:nvPicPr>
          <p:cNvPr id="254" name="Picture 16" descr="business_man_3_spiegelu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675"/>
          <a:stretch>
            <a:fillRect/>
          </a:stretch>
        </p:blipFill>
        <p:spPr bwMode="gray">
          <a:xfrm>
            <a:off x="1868479" y="5001718"/>
            <a:ext cx="589710" cy="58971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</p:pic>
      <p:sp>
        <p:nvSpPr>
          <p:cNvPr id="255" name="Textfeld 280"/>
          <p:cNvSpPr txBox="1"/>
          <p:nvPr/>
        </p:nvSpPr>
        <p:spPr bwMode="gray">
          <a:xfrm>
            <a:off x="1542460" y="5633642"/>
            <a:ext cx="1241746" cy="192450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Discover Leads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sp>
        <p:nvSpPr>
          <p:cNvPr id="2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434377" y="4864991"/>
            <a:ext cx="1056243" cy="109232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700" b="1" dirty="0">
              <a:solidFill>
                <a:schemeClr val="accent5"/>
              </a:solidFill>
            </a:endParaRPr>
          </a:p>
        </p:txBody>
      </p:sp>
      <p:pic>
        <p:nvPicPr>
          <p:cNvPr id="252" name="Picture 3" descr="C:\Users\jsauvageau\Desktop\4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169" y="5081756"/>
            <a:ext cx="674659" cy="417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3" name="Textfeld 280"/>
          <p:cNvSpPr txBox="1"/>
          <p:nvPr/>
        </p:nvSpPr>
        <p:spPr bwMode="gray">
          <a:xfrm>
            <a:off x="3369038" y="5633642"/>
            <a:ext cx="1241746" cy="192450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Discover Companies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sp>
        <p:nvSpPr>
          <p:cNvPr id="2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385163" y="4864991"/>
            <a:ext cx="1056243" cy="109232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700" b="1" dirty="0">
              <a:solidFill>
                <a:schemeClr val="accent5"/>
              </a:solidFill>
            </a:endParaRPr>
          </a:p>
        </p:txBody>
      </p:sp>
      <p:sp>
        <p:nvSpPr>
          <p:cNvPr id="259" name="Textfeld 280"/>
          <p:cNvSpPr txBox="1"/>
          <p:nvPr/>
        </p:nvSpPr>
        <p:spPr bwMode="gray">
          <a:xfrm>
            <a:off x="7319823" y="5633642"/>
            <a:ext cx="1241746" cy="192450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Campaign 2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pic>
        <p:nvPicPr>
          <p:cNvPr id="1026" name="Picture 2" descr="Image result for dashboard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414" y="4991900"/>
            <a:ext cx="659005" cy="659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search icon yellow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3976" y="3533907"/>
            <a:ext cx="379482" cy="37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72986" y="3534250"/>
            <a:ext cx="5204486" cy="36951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i="1" dirty="0" smtClean="0">
                <a:solidFill>
                  <a:schemeClr val="bg1">
                    <a:lumMod val="85000"/>
                  </a:schemeClr>
                </a:solidFill>
              </a:rPr>
              <a:t>Enter any name…</a:t>
            </a:r>
            <a:endParaRPr kumimoji="1" lang="en-US" altLang="ja-JP" sz="1200" i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7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745918" y="4864991"/>
            <a:ext cx="1056243" cy="109232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sz="700" b="1" dirty="0">
              <a:solidFill>
                <a:schemeClr val="accent5"/>
              </a:solidFill>
            </a:endParaRPr>
          </a:p>
        </p:txBody>
      </p:sp>
      <p:sp>
        <p:nvSpPr>
          <p:cNvPr id="75" name="Textfeld 280"/>
          <p:cNvSpPr txBox="1"/>
          <p:nvPr/>
        </p:nvSpPr>
        <p:spPr bwMode="gray">
          <a:xfrm>
            <a:off x="5680578" y="5633642"/>
            <a:ext cx="1241746" cy="192450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sz="800" b="1" dirty="0" smtClean="0">
                <a:solidFill>
                  <a:schemeClr val="accent5"/>
                </a:solidFill>
              </a:rPr>
              <a:t>Campaign 1</a:t>
            </a:r>
            <a:endParaRPr lang="de-DE" sz="700" dirty="0" smtClean="0">
              <a:solidFill>
                <a:schemeClr val="accent5"/>
              </a:solidFill>
            </a:endParaRPr>
          </a:p>
        </p:txBody>
      </p:sp>
      <p:pic>
        <p:nvPicPr>
          <p:cNvPr id="76" name="Picture 2" descr="Image result for dashboard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169" y="4991900"/>
            <a:ext cx="659005" cy="659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0513" y="4514197"/>
            <a:ext cx="3702487" cy="1594626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200" dirty="0" smtClean="0">
                <a:solidFill>
                  <a:schemeClr val="accent5"/>
                </a:solidFill>
              </a:rPr>
              <a:t>Build List</a:t>
            </a:r>
            <a:endParaRPr kumimoji="1" lang="en-US" altLang="ja-JP" sz="1200" dirty="0">
              <a:solidFill>
                <a:schemeClr val="accent5"/>
              </a:solidFill>
            </a:endParaRPr>
          </a:p>
        </p:txBody>
      </p:sp>
      <p:sp>
        <p:nvSpPr>
          <p:cNvPr id="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06588" y="4514197"/>
            <a:ext cx="3702487" cy="1594626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pPr algn="ctr"/>
            <a:r>
              <a:rPr kumimoji="1" lang="en-US" altLang="ja-JP" sz="1200" dirty="0" smtClean="0">
                <a:solidFill>
                  <a:schemeClr val="accent5"/>
                </a:solidFill>
              </a:rPr>
              <a:t>My Dashboard</a:t>
            </a:r>
            <a:endParaRPr kumimoji="1" lang="en-US" altLang="ja-JP" sz="12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93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193" name="Group 192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194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5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6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7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8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9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0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1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2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3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4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5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6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7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8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9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0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1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2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3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4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5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6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7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8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9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0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1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2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3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4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5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6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7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8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9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0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1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2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2054" name="Picture 6" descr="Image result for search icon yell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9950" y="1869976"/>
            <a:ext cx="379482" cy="37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84784" y="1870319"/>
            <a:ext cx="6788662" cy="36951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i="1" dirty="0" err="1" smtClean="0">
                <a:solidFill>
                  <a:schemeClr val="accent5"/>
                </a:solidFill>
              </a:rPr>
              <a:t>vingroup</a:t>
            </a:r>
            <a:endParaRPr kumimoji="1" lang="en-US" altLang="ja-JP" sz="1200" i="1" dirty="0">
              <a:solidFill>
                <a:schemeClr val="accent5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6901408" y="2889787"/>
            <a:ext cx="1873380" cy="340155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8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2918257"/>
            <a:ext cx="1701089" cy="2215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Filter by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cxnSp>
        <p:nvCxnSpPr>
          <p:cNvPr id="86" name="Straight Connector 85"/>
          <p:cNvCxnSpPr/>
          <p:nvPr/>
        </p:nvCxnSpPr>
        <p:spPr>
          <a:xfrm>
            <a:off x="7018983" y="352832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3317480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Location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88" name="Isosceles Triangle 87"/>
          <p:cNvSpPr/>
          <p:nvPr/>
        </p:nvSpPr>
        <p:spPr>
          <a:xfrm rot="10800000">
            <a:off x="8410678" y="3362069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89" name="Straight Connector 88"/>
          <p:cNvCxnSpPr/>
          <p:nvPr/>
        </p:nvCxnSpPr>
        <p:spPr>
          <a:xfrm>
            <a:off x="7018983" y="4268000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4057154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Revenue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91" name="Isosceles Triangle 90"/>
          <p:cNvSpPr/>
          <p:nvPr/>
        </p:nvSpPr>
        <p:spPr>
          <a:xfrm rot="10800000">
            <a:off x="8410678" y="4101743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92" name="Straight Connector 91"/>
          <p:cNvCxnSpPr/>
          <p:nvPr/>
        </p:nvCxnSpPr>
        <p:spPr>
          <a:xfrm>
            <a:off x="7018983" y="5007673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4796827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Profit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94" name="Isosceles Triangle 93"/>
          <p:cNvSpPr/>
          <p:nvPr/>
        </p:nvSpPr>
        <p:spPr>
          <a:xfrm rot="10800000">
            <a:off x="8410678" y="4841416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cxnSp>
        <p:nvCxnSpPr>
          <p:cNvPr id="95" name="Straight Connector 94"/>
          <p:cNvCxnSpPr/>
          <p:nvPr/>
        </p:nvCxnSpPr>
        <p:spPr>
          <a:xfrm>
            <a:off x="7018983" y="5747346"/>
            <a:ext cx="161609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79548" y="5536500"/>
            <a:ext cx="1701089" cy="1830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000" dirty="0" smtClean="0">
                <a:solidFill>
                  <a:schemeClr val="accent5"/>
                </a:solidFill>
              </a:rPr>
              <a:t>Employee count</a:t>
            </a:r>
            <a:endParaRPr kumimoji="1"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97" name="Isosceles Triangle 96"/>
          <p:cNvSpPr/>
          <p:nvPr/>
        </p:nvSpPr>
        <p:spPr>
          <a:xfrm rot="10800000">
            <a:off x="8410678" y="5581089"/>
            <a:ext cx="244307" cy="93919"/>
          </a:xfrm>
          <a:prstGeom prst="triangle">
            <a:avLst/>
          </a:prstGeom>
          <a:solidFill>
            <a:schemeClr val="accent6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9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2918257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1421000" y="3528327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1421000" y="3774885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1421000" y="4021442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1421000" y="4268000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1421000" y="4514558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1421000" y="4761116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>
            <a:off x="1421000" y="5007674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/>
        </p:nvCxnSpPr>
        <p:spPr>
          <a:xfrm>
            <a:off x="1421000" y="5254231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1421000" y="5500789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1421000" y="5747346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421000" y="5993905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>
            <a:off x="1421000" y="6240460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1421000" y="3314060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2918257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Sector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1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2918257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Location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1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2918257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Revenu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1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092376" y="2918257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>
                <a:solidFill>
                  <a:schemeClr val="accent5"/>
                </a:solidFill>
              </a:rPr>
              <a:t>Profit</a:t>
            </a:r>
          </a:p>
        </p:txBody>
      </p:sp>
      <p:sp>
        <p:nvSpPr>
          <p:cNvPr id="11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2918257"/>
            <a:ext cx="872928" cy="221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Employee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33507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1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33507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1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33507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33507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33507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57817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57817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57817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57817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57817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2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380489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380489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380489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380489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380489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047995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047995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047995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3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047995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047995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29294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29294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29294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29294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29294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53605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53605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4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53605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53605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53605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477021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477021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477021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477021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477021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5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50133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50133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50133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50133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50133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526339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526339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526339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6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526339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526339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550649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550649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550649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550649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550649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576763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576763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>
                <a:solidFill>
                  <a:schemeClr val="accent5"/>
                </a:solidFill>
              </a:rPr>
              <a:t>Automotive</a:t>
            </a:r>
          </a:p>
        </p:txBody>
      </p:sp>
      <p:sp>
        <p:nvSpPr>
          <p:cNvPr id="17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576763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576763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576763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47960" y="601074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Nam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84064" y="601074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>
                <a:solidFill>
                  <a:schemeClr val="accent5"/>
                </a:solidFill>
              </a:rPr>
              <a:t>Automotive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16268" y="601074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HCMC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172337" y="601074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75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987835" y="601074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123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18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321898" y="2961051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19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67218" y="2961051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19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45701" y="2961051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19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5375" y="2961051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24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049382" y="2961051"/>
            <a:ext cx="111431" cy="121989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+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cxnSp>
        <p:nvCxnSpPr>
          <p:cNvPr id="250" name="Straight Connector 249"/>
          <p:cNvCxnSpPr/>
          <p:nvPr/>
        </p:nvCxnSpPr>
        <p:spPr>
          <a:xfrm>
            <a:off x="1421000" y="5497285"/>
            <a:ext cx="533639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2660545"/>
            <a:ext cx="3444586" cy="17860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3335076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5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3578178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380489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4047995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4292947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453605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4770211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5013314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5263390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550649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5767639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14907" y="6010743"/>
            <a:ext cx="872928" cy="18309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dirty="0" smtClean="0">
                <a:solidFill>
                  <a:schemeClr val="accent5"/>
                </a:solidFill>
              </a:rPr>
              <a:t>$1mil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grpSp>
        <p:nvGrpSpPr>
          <p:cNvPr id="290" name="Group 289"/>
          <p:cNvGrpSpPr/>
          <p:nvPr/>
        </p:nvGrpSpPr>
        <p:grpSpPr>
          <a:xfrm>
            <a:off x="7033091" y="4350217"/>
            <a:ext cx="1632398" cy="271408"/>
            <a:chOff x="1383468" y="2588440"/>
            <a:chExt cx="3499189" cy="581787"/>
          </a:xfrm>
        </p:grpSpPr>
        <p:cxnSp>
          <p:nvCxnSpPr>
            <p:cNvPr id="291" name="Straight Connector 290"/>
            <p:cNvCxnSpPr/>
            <p:nvPr/>
          </p:nvCxnSpPr>
          <p:spPr>
            <a:xfrm>
              <a:off x="1383468" y="2762693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2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671928" y="2588440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All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293" name="Rounded Rectangle 292"/>
            <p:cNvSpPr/>
            <p:nvPr/>
          </p:nvSpPr>
          <p:spPr>
            <a:xfrm rot="10800000">
              <a:off x="1396655" y="2588471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294" name="Straight Connector 293"/>
            <p:cNvCxnSpPr/>
            <p:nvPr/>
          </p:nvCxnSpPr>
          <p:spPr>
            <a:xfrm>
              <a:off x="1383468" y="2966460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5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671928" y="2792207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0-5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296" name="Rounded Rectangle 295"/>
            <p:cNvSpPr/>
            <p:nvPr/>
          </p:nvSpPr>
          <p:spPr>
            <a:xfrm rot="10800000">
              <a:off x="1396655" y="2792238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297" name="Straight Connector 296"/>
            <p:cNvCxnSpPr/>
            <p:nvPr/>
          </p:nvCxnSpPr>
          <p:spPr>
            <a:xfrm>
              <a:off x="1383468" y="2966460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>
              <a:off x="1383468" y="3170227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9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671928" y="2995974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5-1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00" name="Rounded Rectangle 299"/>
            <p:cNvSpPr/>
            <p:nvPr/>
          </p:nvSpPr>
          <p:spPr>
            <a:xfrm rot="10800000">
              <a:off x="1396655" y="2996005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01" name="Straight Connector 300"/>
            <p:cNvCxnSpPr/>
            <p:nvPr/>
          </p:nvCxnSpPr>
          <p:spPr>
            <a:xfrm>
              <a:off x="3266565" y="2762693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2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555025" y="2588440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10-2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03" name="Rounded Rectangle 302"/>
            <p:cNvSpPr/>
            <p:nvPr/>
          </p:nvSpPr>
          <p:spPr>
            <a:xfrm rot="10800000">
              <a:off x="3279752" y="2588471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04" name="Straight Connector 303"/>
            <p:cNvCxnSpPr/>
            <p:nvPr/>
          </p:nvCxnSpPr>
          <p:spPr>
            <a:xfrm>
              <a:off x="3266565" y="2966460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5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555025" y="2792207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20-5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06" name="Rounded Rectangle 305"/>
            <p:cNvSpPr/>
            <p:nvPr/>
          </p:nvSpPr>
          <p:spPr>
            <a:xfrm rot="10800000">
              <a:off x="3279752" y="2792238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07" name="Straight Connector 306"/>
            <p:cNvCxnSpPr/>
            <p:nvPr/>
          </p:nvCxnSpPr>
          <p:spPr>
            <a:xfrm>
              <a:off x="3266565" y="2966460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/>
            <p:cNvCxnSpPr/>
            <p:nvPr/>
          </p:nvCxnSpPr>
          <p:spPr>
            <a:xfrm>
              <a:off x="3266565" y="3170227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9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555025" y="2995974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&gt;$5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10" name="Rounded Rectangle 309"/>
            <p:cNvSpPr/>
            <p:nvPr/>
          </p:nvSpPr>
          <p:spPr>
            <a:xfrm rot="10800000">
              <a:off x="3279752" y="2996005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</p:grpSp>
      <p:grpSp>
        <p:nvGrpSpPr>
          <p:cNvPr id="311" name="Group 310"/>
          <p:cNvGrpSpPr/>
          <p:nvPr/>
        </p:nvGrpSpPr>
        <p:grpSpPr>
          <a:xfrm>
            <a:off x="7033091" y="5830343"/>
            <a:ext cx="1632398" cy="271408"/>
            <a:chOff x="5227859" y="3691621"/>
            <a:chExt cx="3499189" cy="581787"/>
          </a:xfrm>
        </p:grpSpPr>
        <p:cxnSp>
          <p:nvCxnSpPr>
            <p:cNvPr id="312" name="Straight Connector 311"/>
            <p:cNvCxnSpPr/>
            <p:nvPr/>
          </p:nvCxnSpPr>
          <p:spPr>
            <a:xfrm>
              <a:off x="5227859" y="3865874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3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5516319" y="3691621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All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14" name="Rounded Rectangle 313"/>
            <p:cNvSpPr/>
            <p:nvPr/>
          </p:nvSpPr>
          <p:spPr>
            <a:xfrm rot="10800000">
              <a:off x="5241046" y="3691652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15" name="Straight Connector 314"/>
            <p:cNvCxnSpPr/>
            <p:nvPr/>
          </p:nvCxnSpPr>
          <p:spPr>
            <a:xfrm>
              <a:off x="5227859" y="4069641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6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5516319" y="3895388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1-100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17" name="Rounded Rectangle 316"/>
            <p:cNvSpPr/>
            <p:nvPr/>
          </p:nvSpPr>
          <p:spPr>
            <a:xfrm rot="10800000">
              <a:off x="5241046" y="3895419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18" name="Straight Connector 317"/>
            <p:cNvCxnSpPr/>
            <p:nvPr/>
          </p:nvCxnSpPr>
          <p:spPr>
            <a:xfrm>
              <a:off x="5227859" y="4069641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/>
            <p:cNvCxnSpPr/>
            <p:nvPr/>
          </p:nvCxnSpPr>
          <p:spPr>
            <a:xfrm>
              <a:off x="5227859" y="4273408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0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5516319" y="4099155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100-500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21" name="Rounded Rectangle 320"/>
            <p:cNvSpPr/>
            <p:nvPr/>
          </p:nvSpPr>
          <p:spPr>
            <a:xfrm rot="10800000">
              <a:off x="5241046" y="4099186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22" name="Straight Connector 321"/>
            <p:cNvCxnSpPr/>
            <p:nvPr/>
          </p:nvCxnSpPr>
          <p:spPr>
            <a:xfrm>
              <a:off x="7110956" y="3865874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3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7399416" y="3691621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500-1000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24" name="Rounded Rectangle 323"/>
            <p:cNvSpPr/>
            <p:nvPr/>
          </p:nvSpPr>
          <p:spPr>
            <a:xfrm rot="10800000">
              <a:off x="7124143" y="3691652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25" name="Straight Connector 324"/>
            <p:cNvCxnSpPr/>
            <p:nvPr/>
          </p:nvCxnSpPr>
          <p:spPr>
            <a:xfrm>
              <a:off x="7110956" y="4069641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7399416" y="3895388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1000-5000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27" name="Rounded Rectangle 326"/>
            <p:cNvSpPr/>
            <p:nvPr/>
          </p:nvSpPr>
          <p:spPr>
            <a:xfrm rot="10800000">
              <a:off x="7124143" y="3895419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28" name="Straight Connector 327"/>
            <p:cNvCxnSpPr/>
            <p:nvPr/>
          </p:nvCxnSpPr>
          <p:spPr>
            <a:xfrm>
              <a:off x="7110956" y="4069641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/>
            <p:cNvCxnSpPr/>
            <p:nvPr/>
          </p:nvCxnSpPr>
          <p:spPr>
            <a:xfrm>
              <a:off x="7110956" y="4273408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0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7399416" y="4099155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&gt; 5000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31" name="Rounded Rectangle 330"/>
            <p:cNvSpPr/>
            <p:nvPr/>
          </p:nvSpPr>
          <p:spPr>
            <a:xfrm rot="10800000">
              <a:off x="7124143" y="4099186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</p:grpSp>
      <p:grpSp>
        <p:nvGrpSpPr>
          <p:cNvPr id="332" name="Group 331"/>
          <p:cNvGrpSpPr/>
          <p:nvPr/>
        </p:nvGrpSpPr>
        <p:grpSpPr>
          <a:xfrm>
            <a:off x="7033091" y="5090280"/>
            <a:ext cx="1632398" cy="271408"/>
            <a:chOff x="1383468" y="3724042"/>
            <a:chExt cx="3499189" cy="581787"/>
          </a:xfrm>
        </p:grpSpPr>
        <p:cxnSp>
          <p:nvCxnSpPr>
            <p:cNvPr id="333" name="Straight Connector 332"/>
            <p:cNvCxnSpPr/>
            <p:nvPr/>
          </p:nvCxnSpPr>
          <p:spPr>
            <a:xfrm>
              <a:off x="1383468" y="3898295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4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671928" y="3724042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All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35" name="Rounded Rectangle 334"/>
            <p:cNvSpPr/>
            <p:nvPr/>
          </p:nvSpPr>
          <p:spPr>
            <a:xfrm rot="10800000">
              <a:off x="1396655" y="3724073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36" name="Straight Connector 335"/>
            <p:cNvCxnSpPr/>
            <p:nvPr/>
          </p:nvCxnSpPr>
          <p:spPr>
            <a:xfrm>
              <a:off x="1383468" y="410206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7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671928" y="3927809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0-5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38" name="Rounded Rectangle 337"/>
            <p:cNvSpPr/>
            <p:nvPr/>
          </p:nvSpPr>
          <p:spPr>
            <a:xfrm rot="10800000">
              <a:off x="1396655" y="3927840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39" name="Straight Connector 338"/>
            <p:cNvCxnSpPr/>
            <p:nvPr/>
          </p:nvCxnSpPr>
          <p:spPr>
            <a:xfrm>
              <a:off x="1383468" y="410206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/>
            <p:cNvCxnSpPr/>
            <p:nvPr/>
          </p:nvCxnSpPr>
          <p:spPr>
            <a:xfrm>
              <a:off x="1383468" y="4305829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1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1671928" y="4131576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5-1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42" name="Rounded Rectangle 341"/>
            <p:cNvSpPr/>
            <p:nvPr/>
          </p:nvSpPr>
          <p:spPr>
            <a:xfrm rot="10800000">
              <a:off x="1396655" y="4131607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43" name="Straight Connector 342"/>
            <p:cNvCxnSpPr/>
            <p:nvPr/>
          </p:nvCxnSpPr>
          <p:spPr>
            <a:xfrm>
              <a:off x="3266565" y="3898295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4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555025" y="3724042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10-2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45" name="Rounded Rectangle 344"/>
            <p:cNvSpPr/>
            <p:nvPr/>
          </p:nvSpPr>
          <p:spPr>
            <a:xfrm rot="10800000">
              <a:off x="3279752" y="3724073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46" name="Straight Connector 345"/>
            <p:cNvCxnSpPr/>
            <p:nvPr/>
          </p:nvCxnSpPr>
          <p:spPr>
            <a:xfrm>
              <a:off x="3266565" y="410206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7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555025" y="3927809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$20-5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48" name="Rounded Rectangle 347"/>
            <p:cNvSpPr/>
            <p:nvPr/>
          </p:nvSpPr>
          <p:spPr>
            <a:xfrm rot="10800000">
              <a:off x="3279752" y="3927840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  <p:cxnSp>
          <p:nvCxnSpPr>
            <p:cNvPr id="349" name="Straight Connector 348"/>
            <p:cNvCxnSpPr/>
            <p:nvPr/>
          </p:nvCxnSpPr>
          <p:spPr>
            <a:xfrm>
              <a:off x="3266565" y="4102062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/>
            <p:cNvCxnSpPr/>
            <p:nvPr/>
          </p:nvCxnSpPr>
          <p:spPr>
            <a:xfrm>
              <a:off x="3266565" y="4305829"/>
              <a:ext cx="1616091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1" name="正方形/長方形 4">
              <a:extLst>
                <a:ext uri="{FF2B5EF4-FFF2-40B4-BE49-F238E27FC236}">
                  <a16:creationId xmlns:a16="http://schemas.microsoft.com/office/drawing/2014/main" xmlns="" id="{51FD91B2-BEE1-4D95-8378-21BF94A03A37}"/>
                </a:ext>
              </a:extLst>
            </p:cNvPr>
            <p:cNvSpPr/>
            <p:nvPr/>
          </p:nvSpPr>
          <p:spPr>
            <a:xfrm>
              <a:off x="3555025" y="4131576"/>
              <a:ext cx="1327632" cy="151288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600" dirty="0" smtClean="0">
                  <a:solidFill>
                    <a:schemeClr val="accent5"/>
                  </a:solidFill>
                </a:rPr>
                <a:t>&gt;$50million</a:t>
              </a:r>
              <a:endParaRPr kumimoji="1" lang="en-US" altLang="ja-JP" sz="600" dirty="0">
                <a:solidFill>
                  <a:schemeClr val="accent5"/>
                </a:solidFill>
              </a:endParaRPr>
            </a:p>
          </p:txBody>
        </p:sp>
        <p:sp>
          <p:nvSpPr>
            <p:cNvPr id="352" name="Rounded Rectangle 351"/>
            <p:cNvSpPr/>
            <p:nvPr/>
          </p:nvSpPr>
          <p:spPr>
            <a:xfrm rot="10800000">
              <a:off x="3279752" y="4131607"/>
              <a:ext cx="201906" cy="151258"/>
            </a:xfrm>
            <a:prstGeom prst="roundRect">
              <a:avLst/>
            </a:prstGeom>
            <a:noFill/>
            <a:ln w="254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en-US" sz="700" dirty="0" smtClean="0"/>
            </a:p>
          </p:txBody>
        </p:sp>
      </p:grpSp>
      <p:grpSp>
        <p:nvGrpSpPr>
          <p:cNvPr id="353" name="Group 352"/>
          <p:cNvGrpSpPr/>
          <p:nvPr/>
        </p:nvGrpSpPr>
        <p:grpSpPr>
          <a:xfrm>
            <a:off x="7056095" y="3596785"/>
            <a:ext cx="1586390" cy="284777"/>
            <a:chOff x="5173216" y="2610349"/>
            <a:chExt cx="3400567" cy="610446"/>
          </a:xfrm>
        </p:grpSpPr>
        <p:sp>
          <p:nvSpPr>
            <p:cNvPr id="354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73216" y="2610349"/>
              <a:ext cx="1606924" cy="1786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500" b="1" dirty="0">
                  <a:solidFill>
                    <a:schemeClr val="accent5"/>
                  </a:solidFill>
                </a:rPr>
                <a:t>X   </a:t>
              </a:r>
              <a:r>
                <a:rPr kumimoji="1" lang="en-US" altLang="ja-JP" sz="500" dirty="0" smtClean="0">
                  <a:solidFill>
                    <a:schemeClr val="accent5"/>
                  </a:solidFill>
                </a:rPr>
                <a:t>HO CHI MINH CITY</a:t>
              </a:r>
              <a:endParaRPr kumimoji="1" lang="en-US" altLang="ja-JP" sz="500" dirty="0">
                <a:solidFill>
                  <a:schemeClr val="accent5"/>
                </a:solidFill>
              </a:endParaRPr>
            </a:p>
          </p:txBody>
        </p:sp>
        <p:sp>
          <p:nvSpPr>
            <p:cNvPr id="35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73216" y="2832074"/>
              <a:ext cx="1606924" cy="1786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500" b="1" dirty="0">
                  <a:solidFill>
                    <a:schemeClr val="accent5"/>
                  </a:solidFill>
                </a:rPr>
                <a:t>X   </a:t>
              </a:r>
              <a:r>
                <a:rPr kumimoji="1" lang="en-US" altLang="ja-JP" sz="500" dirty="0" smtClean="0">
                  <a:solidFill>
                    <a:schemeClr val="accent5"/>
                  </a:solidFill>
                </a:rPr>
                <a:t>HANOI</a:t>
              </a:r>
              <a:endParaRPr kumimoji="1" lang="en-US" altLang="ja-JP" sz="500" dirty="0">
                <a:solidFill>
                  <a:schemeClr val="accent5"/>
                </a:solidFill>
              </a:endParaRPr>
            </a:p>
          </p:txBody>
        </p:sp>
        <p:sp>
          <p:nvSpPr>
            <p:cNvPr id="35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173216" y="3042190"/>
              <a:ext cx="1606924" cy="1786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500" b="1" dirty="0">
                  <a:solidFill>
                    <a:schemeClr val="accent5"/>
                  </a:solidFill>
                </a:rPr>
                <a:t>X   </a:t>
              </a:r>
              <a:r>
                <a:rPr kumimoji="1" lang="en-US" altLang="ja-JP" sz="500" dirty="0" smtClean="0">
                  <a:solidFill>
                    <a:schemeClr val="accent5"/>
                  </a:solidFill>
                </a:rPr>
                <a:t>DANANG</a:t>
              </a:r>
              <a:endParaRPr kumimoji="1" lang="en-US" altLang="ja-JP" sz="500" dirty="0">
                <a:solidFill>
                  <a:schemeClr val="accent5"/>
                </a:solidFill>
              </a:endParaRPr>
            </a:p>
          </p:txBody>
        </p:sp>
        <p:sp>
          <p:nvSpPr>
            <p:cNvPr id="35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66859" y="2610349"/>
              <a:ext cx="1606924" cy="1786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500" b="1" dirty="0">
                  <a:solidFill>
                    <a:schemeClr val="accent5"/>
                  </a:solidFill>
                </a:rPr>
                <a:t>X   </a:t>
              </a:r>
              <a:r>
                <a:rPr kumimoji="1" lang="en-US" altLang="ja-JP" sz="500" dirty="0" smtClean="0">
                  <a:solidFill>
                    <a:schemeClr val="accent5"/>
                  </a:solidFill>
                </a:rPr>
                <a:t>CAN THO</a:t>
              </a:r>
              <a:endParaRPr kumimoji="1" lang="en-US" altLang="ja-JP" sz="500" dirty="0">
                <a:solidFill>
                  <a:schemeClr val="accent5"/>
                </a:solidFill>
              </a:endParaRPr>
            </a:p>
          </p:txBody>
        </p:sp>
        <p:sp>
          <p:nvSpPr>
            <p:cNvPr id="358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66859" y="2832074"/>
              <a:ext cx="1606924" cy="1786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500" b="1" dirty="0">
                  <a:solidFill>
                    <a:schemeClr val="accent5"/>
                  </a:solidFill>
                </a:rPr>
                <a:t>X   </a:t>
              </a:r>
              <a:r>
                <a:rPr kumimoji="1" lang="en-US" altLang="ja-JP" sz="500" dirty="0" smtClean="0">
                  <a:solidFill>
                    <a:schemeClr val="accent5"/>
                  </a:solidFill>
                </a:rPr>
                <a:t>BINH DUONG</a:t>
              </a:r>
              <a:endParaRPr kumimoji="1" lang="en-US" altLang="ja-JP" sz="500" dirty="0">
                <a:solidFill>
                  <a:schemeClr val="accent5"/>
                </a:solidFill>
              </a:endParaRPr>
            </a:p>
          </p:txBody>
        </p:sp>
        <p:sp>
          <p:nvSpPr>
            <p:cNvPr id="35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6966859" y="3042190"/>
              <a:ext cx="1606924" cy="1786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r>
                <a:rPr kumimoji="1" lang="en-US" altLang="ja-JP" sz="500" b="1" dirty="0">
                  <a:solidFill>
                    <a:schemeClr val="accent5"/>
                  </a:solidFill>
                </a:rPr>
                <a:t>X   </a:t>
              </a:r>
              <a:r>
                <a:rPr kumimoji="1" lang="en-US" altLang="ja-JP" sz="500" dirty="0" smtClean="0">
                  <a:solidFill>
                    <a:schemeClr val="accent5"/>
                  </a:solidFill>
                </a:rPr>
                <a:t>HUE</a:t>
              </a:r>
              <a:endParaRPr kumimoji="1" lang="en-US" altLang="ja-JP" sz="500" dirty="0">
                <a:solidFill>
                  <a:schemeClr val="accent5"/>
                </a:solidFill>
              </a:endParaRPr>
            </a:p>
          </p:txBody>
        </p:sp>
      </p:grpSp>
      <p:cxnSp>
        <p:nvCxnSpPr>
          <p:cNvPr id="360" name="Straight Connector 359">
            <a:extLst>
              <a:ext uri="{FF2B5EF4-FFF2-40B4-BE49-F238E27FC236}">
                <a16:creationId xmlns="" xmlns:a16="http://schemas.microsoft.com/office/drawing/2014/main" id="{B39241A8-97AB-4A84-8E7F-140CE5FF10FD}"/>
              </a:ext>
            </a:extLst>
          </p:cNvPr>
          <p:cNvCxnSpPr>
            <a:cxnSpLocks/>
          </p:cNvCxnSpPr>
          <p:nvPr/>
        </p:nvCxnSpPr>
        <p:spPr>
          <a:xfrm>
            <a:off x="1320468" y="2605531"/>
            <a:ext cx="735664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1" name="正方形/長方形 4">
            <a:extLst>
              <a:ext uri="{FF2B5EF4-FFF2-40B4-BE49-F238E27FC236}">
                <a16:creationId xmlns="" xmlns:a16="http://schemas.microsoft.com/office/drawing/2014/main" id="{47168B4D-8BA1-4423-8C20-D5EFB53AFCEF}"/>
              </a:ext>
            </a:extLst>
          </p:cNvPr>
          <p:cNvSpPr/>
          <p:nvPr/>
        </p:nvSpPr>
        <p:spPr>
          <a:xfrm>
            <a:off x="1314063" y="2348631"/>
            <a:ext cx="748145" cy="24408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COMPANY</a:t>
            </a:r>
          </a:p>
        </p:txBody>
      </p:sp>
      <p:sp>
        <p:nvSpPr>
          <p:cNvPr id="362" name="正方形/長方形 4">
            <a:extLst>
              <a:ext uri="{FF2B5EF4-FFF2-40B4-BE49-F238E27FC236}">
                <a16:creationId xmlns="" xmlns:a16="http://schemas.microsoft.com/office/drawing/2014/main" id="{5E09DC85-5A90-45B0-B83B-5338BE217A40}"/>
              </a:ext>
            </a:extLst>
          </p:cNvPr>
          <p:cNvSpPr/>
          <p:nvPr/>
        </p:nvSpPr>
        <p:spPr>
          <a:xfrm>
            <a:off x="2101108" y="2348631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>
                <a:solidFill>
                  <a:schemeClr val="tx2"/>
                </a:solidFill>
              </a:rPr>
              <a:t>PEOPLE</a:t>
            </a:r>
          </a:p>
        </p:txBody>
      </p:sp>
      <p:sp>
        <p:nvSpPr>
          <p:cNvPr id="363" name="正方形/長方形 4">
            <a:extLst>
              <a:ext uri="{FF2B5EF4-FFF2-40B4-BE49-F238E27FC236}">
                <a16:creationId xmlns="" xmlns:a16="http://schemas.microsoft.com/office/drawing/2014/main" id="{FD460403-C681-4E1E-B4CE-95FF2C41AB10}"/>
              </a:ext>
            </a:extLst>
          </p:cNvPr>
          <p:cNvSpPr/>
          <p:nvPr/>
        </p:nvSpPr>
        <p:spPr>
          <a:xfrm>
            <a:off x="2888152" y="2348631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JOBS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364" name="正方形/長方形 4">
            <a:extLst>
              <a:ext uri="{FF2B5EF4-FFF2-40B4-BE49-F238E27FC236}">
                <a16:creationId xmlns="" xmlns:a16="http://schemas.microsoft.com/office/drawing/2014/main" id="{00598230-F870-4ED6-A48B-F2F2EB0ACDC3}"/>
              </a:ext>
            </a:extLst>
          </p:cNvPr>
          <p:cNvSpPr/>
          <p:nvPr/>
        </p:nvSpPr>
        <p:spPr>
          <a:xfrm>
            <a:off x="3675199" y="2348631"/>
            <a:ext cx="748145" cy="24408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600" b="1" dirty="0" smtClean="0">
                <a:solidFill>
                  <a:schemeClr val="tx2"/>
                </a:solidFill>
              </a:rPr>
              <a:t>NEWS</a:t>
            </a:r>
            <a:endParaRPr kumimoji="1" lang="en-US" altLang="ja-JP" sz="600" b="1" dirty="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96642" y="1178920"/>
            <a:ext cx="2157113" cy="307474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4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06415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6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1941984"/>
            <a:ext cx="3013585" cy="31640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200" b="1" dirty="0" smtClean="0">
                <a:solidFill>
                  <a:schemeClr val="accent5"/>
                </a:solidFill>
              </a:rPr>
              <a:t>Choose a list to create:</a:t>
            </a:r>
            <a:endParaRPr kumimoji="1" lang="en-US" altLang="ja-JP" sz="1200" b="1" dirty="0">
              <a:solidFill>
                <a:schemeClr val="accent5"/>
              </a:solidFill>
            </a:endParaRPr>
          </a:p>
        </p:txBody>
      </p:sp>
      <p:sp>
        <p:nvSpPr>
          <p:cNvPr id="1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13513" y="2328562"/>
            <a:ext cx="6671662" cy="261494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dirty="0" smtClean="0">
                <a:solidFill>
                  <a:schemeClr val="accent5"/>
                </a:solidFill>
              </a:rPr>
              <a:t>Easily put together a targeted list for your marketing or sales campaign</a:t>
            </a:r>
            <a:endParaRPr kumimoji="1" lang="en-US" altLang="ja-JP" sz="1200" dirty="0">
              <a:solidFill>
                <a:schemeClr val="accent5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038794" y="2662064"/>
            <a:ext cx="3598125" cy="1456635"/>
            <a:chOff x="2660990" y="2878888"/>
            <a:chExt cx="4353732" cy="1762528"/>
          </a:xfrm>
        </p:grpSpPr>
        <p:sp>
          <p:nvSpPr>
            <p:cNvPr id="242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660990" y="2882215"/>
              <a:ext cx="1701090" cy="175920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endParaRPr kumimoji="1" lang="en-US" altLang="ja-JP" sz="1050" b="1" dirty="0">
                <a:solidFill>
                  <a:schemeClr val="accent5"/>
                </a:solidFill>
              </a:endParaRPr>
            </a:p>
          </p:txBody>
        </p:sp>
        <p:sp>
          <p:nvSpPr>
            <p:cNvPr id="24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13632" y="2878888"/>
              <a:ext cx="1701090" cy="175920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endParaRPr kumimoji="1" lang="en-US" altLang="ja-JP" sz="1050" b="1" dirty="0">
                <a:solidFill>
                  <a:schemeClr val="accent5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2890662" y="3031394"/>
              <a:ext cx="1241746" cy="1460842"/>
              <a:chOff x="2824655" y="3659640"/>
              <a:chExt cx="1241746" cy="1460842"/>
            </a:xfrm>
          </p:grpSpPr>
          <p:pic>
            <p:nvPicPr>
              <p:cNvPr id="171" name="Picture 16" descr="business_man_3_spiegelu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3675"/>
              <a:stretch>
                <a:fillRect/>
              </a:stretch>
            </p:blipFill>
            <p:spPr bwMode="gray">
              <a:xfrm>
                <a:off x="2870940" y="3659640"/>
                <a:ext cx="1149177" cy="1149177"/>
              </a:xfrm>
              <a:prstGeom prst="rect">
                <a:avLst/>
              </a:prstGeom>
              <a:solidFill>
                <a:srgbClr val="FFFFFF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72" name="Textfeld 280"/>
              <p:cNvSpPr txBox="1"/>
              <p:nvPr/>
            </p:nvSpPr>
            <p:spPr bwMode="gray">
              <a:xfrm>
                <a:off x="2824655" y="4810541"/>
                <a:ext cx="1241746" cy="309941"/>
              </a:xfrm>
              <a:prstGeom prst="rect">
                <a:avLst/>
              </a:prstGeom>
              <a:noFill/>
            </p:spPr>
            <p:txBody>
              <a:bodyPr wrap="square" lIns="108000" tIns="72000" rIns="108000" bIns="72000" rtlCol="0" anchor="t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r>
                  <a:rPr lang="de-DE" sz="1100" b="1" dirty="0" smtClean="0">
                    <a:solidFill>
                      <a:schemeClr val="accent5"/>
                    </a:solidFill>
                  </a:rPr>
                  <a:t>Leads</a:t>
                </a:r>
                <a:endParaRPr lang="de-DE" sz="1050" dirty="0" smtClean="0">
                  <a:solidFill>
                    <a:schemeClr val="accent5"/>
                  </a:solidFill>
                </a:endParaRPr>
              </a:p>
            </p:txBody>
          </p:sp>
        </p:grpSp>
        <p:grpSp>
          <p:nvGrpSpPr>
            <p:cNvPr id="4" name="Group 3"/>
            <p:cNvGrpSpPr/>
            <p:nvPr/>
          </p:nvGrpSpPr>
          <p:grpSpPr>
            <a:xfrm>
              <a:off x="5506817" y="3191145"/>
              <a:ext cx="1314720" cy="1134687"/>
              <a:chOff x="5442672" y="3886200"/>
              <a:chExt cx="1314720" cy="1134687"/>
            </a:xfrm>
          </p:grpSpPr>
          <p:pic>
            <p:nvPicPr>
              <p:cNvPr id="176" name="Picture 3" descr="C:\Users\jsauvageau\Desktop\4.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42672" y="3886200"/>
                <a:ext cx="1314720" cy="8133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8" name="Textfeld 280"/>
              <p:cNvSpPr txBox="1"/>
              <p:nvPr/>
            </p:nvSpPr>
            <p:spPr bwMode="gray">
              <a:xfrm>
                <a:off x="5515646" y="4710946"/>
                <a:ext cx="1241746" cy="309941"/>
              </a:xfrm>
              <a:prstGeom prst="rect">
                <a:avLst/>
              </a:prstGeom>
              <a:noFill/>
            </p:spPr>
            <p:txBody>
              <a:bodyPr wrap="square" lIns="108000" tIns="72000" rIns="108000" bIns="72000" rtlCol="0" anchor="t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r>
                  <a:rPr lang="de-DE" sz="1100" b="1" dirty="0" smtClean="0">
                    <a:solidFill>
                      <a:schemeClr val="accent5"/>
                    </a:solidFill>
                  </a:rPr>
                  <a:t>Companies</a:t>
                </a:r>
                <a:endParaRPr lang="de-DE" sz="1050" dirty="0" smtClean="0">
                  <a:solidFill>
                    <a:schemeClr val="accent5"/>
                  </a:solidFill>
                </a:endParaRPr>
              </a:p>
            </p:txBody>
          </p:sp>
        </p:grpSp>
      </p:grp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1890" y="4404060"/>
            <a:ext cx="3013585" cy="31640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1200" b="1" dirty="0" smtClean="0">
                <a:solidFill>
                  <a:schemeClr val="accent5"/>
                </a:solidFill>
              </a:rPr>
              <a:t>Enter list name:</a:t>
            </a:r>
            <a:endParaRPr kumimoji="1" lang="en-US" altLang="ja-JP" sz="1200" b="1" dirty="0">
              <a:solidFill>
                <a:schemeClr val="accent5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727320" y="4822304"/>
            <a:ext cx="4556835" cy="348048"/>
          </a:xfrm>
          <a:prstGeom prst="round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dirty="0" smtClean="0">
                <a:solidFill>
                  <a:schemeClr val="accent5"/>
                </a:solidFill>
              </a:rPr>
              <a:t>xx</a:t>
            </a:r>
            <a:endParaRPr kumimoji="1" lang="en-US" altLang="ja-JP" sz="1200" dirty="0">
              <a:solidFill>
                <a:schemeClr val="accent5"/>
              </a:solidFill>
            </a:endParaRPr>
          </a:p>
        </p:txBody>
      </p:sp>
      <p:sp>
        <p:nvSpPr>
          <p:cNvPr id="2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2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25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31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2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46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2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7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58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9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2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3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4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6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7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8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9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0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2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3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4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5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6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7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8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9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0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1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2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3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4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5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6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7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8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9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0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1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2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4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5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6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7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8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9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0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1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2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3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7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8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9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0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1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2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3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4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5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6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7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8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9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0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1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2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3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4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5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6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7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8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39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0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1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2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3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4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5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6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7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8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9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0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1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2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3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4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5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6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7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8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9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0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1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2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3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4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5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7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8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3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4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5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7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8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9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0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1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2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3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4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5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6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7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8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9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0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1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2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3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4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5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6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7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8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9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0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1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2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3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4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5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6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7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8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9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0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1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2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3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4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5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7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8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9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20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221" name="Group 220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222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3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4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5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6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7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9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0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1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2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3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4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5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6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7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8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9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0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3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4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5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6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7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8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9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0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1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2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3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4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5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6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7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8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9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0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1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2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3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4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5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6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7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8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9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0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1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2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3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4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5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6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4525144" y="1149896"/>
            <a:ext cx="1728192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7746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0990" y="3357954"/>
            <a:ext cx="1701090" cy="175920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24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13632" y="3354627"/>
            <a:ext cx="1701090" cy="175920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7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13513" y="2434560"/>
            <a:ext cx="2739623" cy="348048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b="1" dirty="0" smtClean="0">
                <a:solidFill>
                  <a:schemeClr val="accent5"/>
                </a:solidFill>
              </a:rPr>
              <a:t>Select Company Criteria</a:t>
            </a:r>
            <a:endParaRPr kumimoji="1" lang="en-US" altLang="ja-JP" sz="1200" b="1" dirty="0">
              <a:solidFill>
                <a:schemeClr val="accent5"/>
              </a:solidFill>
            </a:endParaRPr>
          </a:p>
        </p:txBody>
      </p:sp>
      <p:sp>
        <p:nvSpPr>
          <p:cNvPr id="17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13513" y="2771496"/>
            <a:ext cx="6671662" cy="261494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r>
              <a:rPr kumimoji="1" lang="en-US" altLang="ja-JP" sz="1200" dirty="0" smtClean="0">
                <a:solidFill>
                  <a:schemeClr val="accent5"/>
                </a:solidFill>
              </a:rPr>
              <a:t>Upload a company list or select criteria to define:</a:t>
            </a:r>
            <a:endParaRPr kumimoji="1" lang="en-US" altLang="ja-JP" sz="1200" dirty="0">
              <a:solidFill>
                <a:schemeClr val="accent5"/>
              </a:solidFill>
            </a:endParaRPr>
          </a:p>
        </p:txBody>
      </p:sp>
      <p:sp>
        <p:nvSpPr>
          <p:cNvPr id="172" name="Textfeld 280"/>
          <p:cNvSpPr txBox="1"/>
          <p:nvPr/>
        </p:nvSpPr>
        <p:spPr bwMode="gray">
          <a:xfrm>
            <a:off x="2890662" y="4491630"/>
            <a:ext cx="1241746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b="1" dirty="0" smtClean="0">
                <a:solidFill>
                  <a:schemeClr val="accent5"/>
                </a:solidFill>
              </a:rPr>
              <a:t>Upload a company list</a:t>
            </a:r>
            <a:endParaRPr lang="de-DE" sz="1100" dirty="0" smtClean="0">
              <a:solidFill>
                <a:schemeClr val="accent5"/>
              </a:solidFill>
            </a:endParaRPr>
          </a:p>
        </p:txBody>
      </p:sp>
      <p:sp>
        <p:nvSpPr>
          <p:cNvPr id="228" name="Textfeld 280"/>
          <p:cNvSpPr txBox="1"/>
          <p:nvPr/>
        </p:nvSpPr>
        <p:spPr bwMode="gray">
          <a:xfrm>
            <a:off x="5579791" y="4491630"/>
            <a:ext cx="1241746" cy="309941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b="1" dirty="0" smtClean="0">
                <a:solidFill>
                  <a:schemeClr val="accent5"/>
                </a:solidFill>
              </a:rPr>
              <a:t>Search for companies</a:t>
            </a:r>
            <a:endParaRPr lang="de-DE" sz="1100" dirty="0" smtClean="0">
              <a:solidFill>
                <a:schemeClr val="accent5"/>
              </a:solidFill>
            </a:endParaRPr>
          </a:p>
        </p:txBody>
      </p:sp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3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220" name="Group 219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221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2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3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4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5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6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7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9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0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1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2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3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4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5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6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7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8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9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0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3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4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5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6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7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8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9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0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1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2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3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4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5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6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7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8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9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0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1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2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76" name="Group 275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27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278" name="Group 277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279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0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1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2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3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4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5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6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7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8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9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0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1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292" name="Group 291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29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294" name="Group 293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295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6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7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8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9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0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1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302" name="Group 301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30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304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305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6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7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0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1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2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3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4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5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6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7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8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9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0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1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2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3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5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6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8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9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0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1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2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3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4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5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6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7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8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9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1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3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4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5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6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7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8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49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0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1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2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3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4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5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6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7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8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9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0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1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2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3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4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5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6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7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8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9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0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1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2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3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4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5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6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7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8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9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0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1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2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3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4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5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6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7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8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9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0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1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2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3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4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5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6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7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8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9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0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1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2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3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4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5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6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7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8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9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0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1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2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3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4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5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6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7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8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9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0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1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2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3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4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5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6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7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8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9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0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1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2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3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4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5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6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7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8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9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0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1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2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3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4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5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6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7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8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9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0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1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2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3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4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5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6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7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8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9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0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1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2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3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4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5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6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pic>
        <p:nvPicPr>
          <p:cNvPr id="2050" name="Picture 2" descr="Image result for list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174" y="3505565"/>
            <a:ext cx="960721" cy="960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search ic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883" y="3641837"/>
            <a:ext cx="873383" cy="87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373016" y="1149896"/>
            <a:ext cx="2341867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3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254810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D5A39AF-FEF5-47AB-AA80-4C0BD4A8B09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6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05400" y="1115561"/>
            <a:ext cx="4387850" cy="6824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470" name="Textfeld 280"/>
          <p:cNvSpPr txBox="1"/>
          <p:nvPr/>
        </p:nvSpPr>
        <p:spPr bwMode="gray">
          <a:xfrm>
            <a:off x="5579790" y="1306031"/>
            <a:ext cx="3481857" cy="193477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b="1" dirty="0" smtClean="0">
                <a:solidFill>
                  <a:schemeClr val="accent5"/>
                </a:solidFill>
              </a:rPr>
              <a:t>Search for companies</a:t>
            </a:r>
            <a:endParaRPr lang="de-DE" sz="1100" dirty="0" smtClean="0">
              <a:solidFill>
                <a:schemeClr val="accent5"/>
              </a:solidFill>
            </a:endParaRPr>
          </a:p>
        </p:txBody>
      </p:sp>
      <p:pic>
        <p:nvPicPr>
          <p:cNvPr id="472" name="Picture 4" descr="Image result for search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38" y="1232672"/>
            <a:ext cx="448185" cy="448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50005" y="1115561"/>
            <a:ext cx="4387850" cy="6824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474" name="Textfeld 280"/>
          <p:cNvSpPr txBox="1"/>
          <p:nvPr/>
        </p:nvSpPr>
        <p:spPr bwMode="gray">
          <a:xfrm>
            <a:off x="1024395" y="1306031"/>
            <a:ext cx="3481857" cy="193477"/>
          </a:xfrm>
          <a:prstGeom prst="rect">
            <a:avLst/>
          </a:prstGeom>
          <a:noFill/>
        </p:spPr>
        <p:txBody>
          <a:bodyPr wrap="square" lIns="108000" tIns="72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de-DE" b="1" dirty="0">
                <a:solidFill>
                  <a:schemeClr val="accent5"/>
                </a:solidFill>
              </a:rPr>
              <a:t>Upload a company list</a:t>
            </a:r>
            <a:endParaRPr lang="de-DE" dirty="0">
              <a:solidFill>
                <a:schemeClr val="accent5"/>
              </a:solidFill>
            </a:endParaRPr>
          </a:p>
        </p:txBody>
      </p:sp>
      <p:pic>
        <p:nvPicPr>
          <p:cNvPr id="476" name="Picture 2" descr="Image result for list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279" y="1253043"/>
            <a:ext cx="407441" cy="407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105929" y="2209800"/>
            <a:ext cx="4387321" cy="2612504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200" b="1" dirty="0" smtClean="0">
                <a:solidFill>
                  <a:schemeClr val="accent5"/>
                </a:solidFill>
              </a:rPr>
              <a:t>Search Company Criteria b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Indust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Reven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Prof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Employee cou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Years in busi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Location: city, are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Company type: listed, JSC, private, limited, LL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endParaRPr kumimoji="1" lang="en-US" altLang="ja-JP" sz="1200" b="1" dirty="0" smtClean="0">
              <a:solidFill>
                <a:schemeClr val="accent5"/>
              </a:solidFill>
            </a:endParaRPr>
          </a:p>
          <a:p>
            <a:endParaRPr kumimoji="1" lang="en-US" altLang="ja-JP" sz="1200" b="1" dirty="0">
              <a:solidFill>
                <a:schemeClr val="accent5"/>
              </a:solidFill>
            </a:endParaRPr>
          </a:p>
        </p:txBody>
      </p:sp>
      <p:sp>
        <p:nvSpPr>
          <p:cNvPr id="478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74978" y="2209800"/>
            <a:ext cx="4387321" cy="2612504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t">
            <a:noAutofit/>
          </a:bodyPr>
          <a:lstStyle/>
          <a:p>
            <a:r>
              <a:rPr kumimoji="1" lang="en-US" altLang="ja-JP" sz="1200" b="1" dirty="0" smtClean="0">
                <a:solidFill>
                  <a:schemeClr val="accent5"/>
                </a:solidFill>
              </a:rPr>
              <a:t>Develop Ideal Customer Profile (IC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Client upload the list of customers (won/los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Machine learning to identify Ideal Customer Profile (ICP) by: 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Industry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Revenue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Profit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Employee counts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Year in business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accent5"/>
                </a:solidFill>
              </a:rPr>
              <a:t>Location: city, areas</a:t>
            </a:r>
          </a:p>
          <a:p>
            <a:pPr marL="680862" lvl="1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solidFill>
                  <a:schemeClr val="accent5"/>
                </a:solidFill>
              </a:rPr>
              <a:t>Company type: listed, JSC, private, limited, LL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 smtClean="0">
                <a:solidFill>
                  <a:schemeClr val="accent5"/>
                </a:solidFill>
              </a:rPr>
              <a:t>Machine learning to rank attributes by its importance to the buy/no-buy prob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>
              <a:solidFill>
                <a:schemeClr val="accent5"/>
              </a:solidFill>
            </a:endParaRPr>
          </a:p>
          <a:p>
            <a:r>
              <a:rPr kumimoji="1" lang="en-US" altLang="ja-JP" sz="1200" b="1" dirty="0" smtClean="0">
                <a:solidFill>
                  <a:schemeClr val="accent5"/>
                </a:solidFill>
              </a:rPr>
              <a:t>Based on the selected company criteria of ICP, search for the look-alike prospects in data and return list of result, score them by the propensity to buy (%) and deal size</a:t>
            </a:r>
            <a:endParaRPr kumimoji="1" lang="en-US" altLang="ja-JP" sz="1200" dirty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680862" lvl="1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ja-JP" sz="1200" dirty="0" smtClean="0">
              <a:solidFill>
                <a:schemeClr val="accent5"/>
              </a:solidFill>
            </a:endParaRPr>
          </a:p>
          <a:p>
            <a:endParaRPr kumimoji="1" lang="en-US" altLang="ja-JP" sz="1200" b="1" dirty="0" smtClean="0">
              <a:solidFill>
                <a:schemeClr val="accent5"/>
              </a:solidFill>
            </a:endParaRPr>
          </a:p>
          <a:p>
            <a:endParaRPr kumimoji="1" lang="en-US" altLang="ja-JP" sz="12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406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7449BBB3-3148-4CEB-9757-18A6DC029C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5175" y="7280275"/>
            <a:ext cx="1673225" cy="155575"/>
          </a:xfrm>
        </p:spPr>
        <p:txBody>
          <a:bodyPr/>
          <a:lstStyle/>
          <a:p>
            <a:fld id="{4D5A39AF-FEF5-47AB-AA80-4C0BD4A8B092}" type="slidenum">
              <a:rPr lang="en-GB" smtClean="0"/>
              <a:pPr/>
              <a:t>9</a:t>
            </a:fld>
            <a:endParaRPr lang="en-GB" dirty="0"/>
          </a:p>
        </p:txBody>
      </p:sp>
      <p:grpSp>
        <p:nvGrpSpPr>
          <p:cNvPr id="327" name="Group 326"/>
          <p:cNvGrpSpPr/>
          <p:nvPr/>
        </p:nvGrpSpPr>
        <p:grpSpPr>
          <a:xfrm>
            <a:off x="558012" y="452694"/>
            <a:ext cx="8957010" cy="348048"/>
            <a:chOff x="536240" y="452694"/>
            <a:chExt cx="8619915" cy="348048"/>
          </a:xfrm>
        </p:grpSpPr>
        <p:sp>
          <p:nvSpPr>
            <p:cNvPr id="6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7284957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5. DEPLOY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615532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4. FINAL REVIEW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91059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3. LIST OPTIONS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0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223419" y="452694"/>
              <a:ext cx="1871198" cy="348048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2. PERSON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11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536240" y="452694"/>
              <a:ext cx="1871198" cy="348048"/>
            </a:xfrm>
            <a:prstGeom prst="homePlat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1. COMPANY CRITERIA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3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592607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NEX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34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08143" y="1515305"/>
            <a:ext cx="7603973" cy="2348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endParaRPr kumimoji="1" lang="en-US" altLang="ja-JP" b="1" dirty="0">
              <a:solidFill>
                <a:schemeClr val="accent5"/>
              </a:solidFill>
            </a:endParaRPr>
          </a:p>
        </p:txBody>
      </p:sp>
      <p:pic>
        <p:nvPicPr>
          <p:cNvPr id="340" name="Picture 2" descr="Vintello">
            <a:extLst>
              <a:ext uri="{FF2B5EF4-FFF2-40B4-BE49-F238E27FC236}">
                <a16:creationId xmlns="" xmlns:a16="http://schemas.microsoft.com/office/drawing/2014/main" id="{87924740-D581-4D0E-8D8D-DEE3DB497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513" y="1537022"/>
            <a:ext cx="767232" cy="191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149119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5. DEPLOY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667150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4. FINAL REVIEW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185181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3. LIST OPTIONS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703212" y="1778918"/>
            <a:ext cx="563216" cy="196465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2. PERSON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21243" y="1778918"/>
            <a:ext cx="563216" cy="196465"/>
          </a:xfrm>
          <a:prstGeom prst="homePlat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500" b="1" dirty="0" smtClean="0">
                <a:solidFill>
                  <a:schemeClr val="accent5"/>
                </a:solidFill>
              </a:rPr>
              <a:t>1. COMPANY CRITERIA</a:t>
            </a:r>
            <a:endParaRPr kumimoji="1" lang="en-US" altLang="ja-JP" sz="500" b="1" dirty="0">
              <a:solidFill>
                <a:schemeClr val="accent5"/>
              </a:solidFill>
            </a:endParaRPr>
          </a:p>
        </p:txBody>
      </p:sp>
      <p:sp>
        <p:nvSpPr>
          <p:cNvPr id="2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397352" y="5859680"/>
            <a:ext cx="1056243" cy="287643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BACK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217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310980" y="5859680"/>
            <a:ext cx="1405859" cy="287643"/>
          </a:xfrm>
          <a:prstGeom prst="roundRect">
            <a:avLst/>
          </a:prstGeom>
          <a:solidFill>
            <a:schemeClr val="accent2">
              <a:lumMod val="9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VIEW RESULT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219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329030" y="1778918"/>
            <a:ext cx="3444586" cy="196465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800" dirty="0" smtClean="0">
                <a:solidFill>
                  <a:schemeClr val="accent5"/>
                </a:solidFill>
              </a:rPr>
              <a:t>Total of </a:t>
            </a:r>
            <a:r>
              <a:rPr kumimoji="1" lang="en-US" altLang="ja-JP" sz="800" dirty="0" err="1" smtClean="0">
                <a:solidFill>
                  <a:schemeClr val="accent5"/>
                </a:solidFill>
              </a:rPr>
              <a:t>xxx,xxx,xxx</a:t>
            </a:r>
            <a:r>
              <a:rPr kumimoji="1" lang="en-US" altLang="ja-JP" sz="800" dirty="0" smtClean="0">
                <a:solidFill>
                  <a:schemeClr val="accent5"/>
                </a:solidFill>
              </a:rPr>
              <a:t> results</a:t>
            </a:r>
            <a:endParaRPr kumimoji="1" lang="en-US" altLang="ja-JP" sz="800" dirty="0">
              <a:solidFill>
                <a:schemeClr val="accent5"/>
              </a:solidFill>
            </a:endParaRPr>
          </a:p>
        </p:txBody>
      </p:sp>
      <p:sp>
        <p:nvSpPr>
          <p:cNvPr id="220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521783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1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4238635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3238609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2248996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4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125938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sp>
        <p:nvSpPr>
          <p:cNvPr id="225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180304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>
                <a:solidFill>
                  <a:schemeClr val="accent5"/>
                </a:solidFill>
              </a:rPr>
              <a:t>TAG KEY WORDS</a:t>
            </a:r>
          </a:p>
        </p:txBody>
      </p:sp>
      <p:sp>
        <p:nvSpPr>
          <p:cNvPr id="226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190692" y="2021853"/>
            <a:ext cx="907066" cy="1786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700" b="1" dirty="0" smtClean="0">
                <a:solidFill>
                  <a:schemeClr val="accent5"/>
                </a:solidFill>
              </a:rPr>
              <a:t>X </a:t>
            </a:r>
            <a:r>
              <a:rPr kumimoji="1" lang="en-US" altLang="ja-JP" sz="600" b="1" dirty="0" smtClean="0">
                <a:solidFill>
                  <a:schemeClr val="accent5"/>
                </a:solidFill>
              </a:rPr>
              <a:t>  </a:t>
            </a:r>
            <a:r>
              <a:rPr kumimoji="1" lang="en-US" altLang="ja-JP" sz="600" dirty="0" smtClean="0">
                <a:solidFill>
                  <a:schemeClr val="accent5"/>
                </a:solidFill>
              </a:rPr>
              <a:t>TAG KEY WORDS</a:t>
            </a:r>
            <a:endParaRPr kumimoji="1" lang="en-US" altLang="ja-JP" sz="600" dirty="0">
              <a:solidFill>
                <a:schemeClr val="accent5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-1882559" y="1785533"/>
            <a:ext cx="1871199" cy="2313653"/>
            <a:chOff x="-1882559" y="1785533"/>
            <a:chExt cx="1871199" cy="2313653"/>
          </a:xfrm>
        </p:grpSpPr>
        <p:sp>
          <p:nvSpPr>
            <p:cNvPr id="22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1785533"/>
              <a:ext cx="1871199" cy="287643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ctr"/>
              <a:r>
                <a:rPr kumimoji="1" lang="en-US" altLang="ja-JP" b="1" dirty="0" smtClean="0">
                  <a:solidFill>
                    <a:schemeClr val="accent5"/>
                  </a:solidFill>
                </a:rPr>
                <a:t>INPUT</a:t>
              </a:r>
              <a:endParaRPr kumimoji="1" lang="en-US" altLang="ja-JP" b="1" dirty="0">
                <a:solidFill>
                  <a:schemeClr val="accent5"/>
                </a:solidFill>
              </a:endParaRPr>
            </a:p>
          </p:txBody>
        </p:sp>
        <p:sp>
          <p:nvSpPr>
            <p:cNvPr id="229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-1882559" y="2056636"/>
              <a:ext cx="1871199" cy="2042550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t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List of company attribut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kumimoji="1" lang="en-US" altLang="ja-JP" sz="1050" dirty="0" smtClean="0">
                  <a:solidFill>
                    <a:schemeClr val="accent5"/>
                  </a:solidFill>
                </a:rPr>
                <a:t>Details break-down of each attributes</a:t>
              </a:r>
              <a:endParaRPr kumimoji="1" lang="en-US" altLang="ja-JP" sz="105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232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6926808" y="1547305"/>
            <a:ext cx="872928" cy="162368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sz="800" i="1" dirty="0" smtClean="0">
                <a:solidFill>
                  <a:schemeClr val="accent5"/>
                </a:solidFill>
              </a:rPr>
              <a:t>35,234 Credits</a:t>
            </a:r>
            <a:endParaRPr kumimoji="1" lang="en-US" altLang="ja-JP" sz="800" i="1" dirty="0">
              <a:solidFill>
                <a:schemeClr val="accent5"/>
              </a:solidFill>
            </a:endParaRPr>
          </a:p>
        </p:txBody>
      </p:sp>
      <p:sp>
        <p:nvSpPr>
          <p:cNvPr id="233" name="正方形/長方形 4">
            <a:extLst>
              <a:ext uri="{FF2B5EF4-FFF2-40B4-BE49-F238E27FC236}">
                <a16:creationId xmlns="" xmlns:a16="http://schemas.microsoft.com/office/drawing/2014/main" id="{51FD91B2-BEE1-4D95-8378-21BF94A03A37}"/>
              </a:ext>
            </a:extLst>
          </p:cNvPr>
          <p:cNvSpPr/>
          <p:nvPr/>
        </p:nvSpPr>
        <p:spPr>
          <a:xfrm>
            <a:off x="7870826" y="1547305"/>
            <a:ext cx="872928" cy="162368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r"/>
            <a:r>
              <a:rPr kumimoji="1" lang="en-US" altLang="ja-JP" sz="900" dirty="0" smtClean="0">
                <a:solidFill>
                  <a:schemeClr val="accent5"/>
                </a:solidFill>
              </a:rPr>
              <a:t>Accounts</a:t>
            </a:r>
            <a:endParaRPr kumimoji="1" lang="en-US" altLang="ja-JP" sz="900" dirty="0">
              <a:solidFill>
                <a:schemeClr val="accent5"/>
              </a:solidFill>
            </a:endParaRPr>
          </a:p>
        </p:txBody>
      </p:sp>
      <p:grpSp>
        <p:nvGrpSpPr>
          <p:cNvPr id="423" name="Group 422"/>
          <p:cNvGrpSpPr/>
          <p:nvPr/>
        </p:nvGrpSpPr>
        <p:grpSpPr>
          <a:xfrm>
            <a:off x="7981528" y="1577911"/>
            <a:ext cx="108180" cy="115186"/>
            <a:chOff x="7010400" y="1212851"/>
            <a:chExt cx="1716088" cy="1827213"/>
          </a:xfrm>
          <a:solidFill>
            <a:schemeClr val="bg2">
              <a:lumMod val="50000"/>
            </a:schemeClr>
          </a:solidFill>
        </p:grpSpPr>
        <p:sp>
          <p:nvSpPr>
            <p:cNvPr id="424" name="Freeform 419"/>
            <p:cNvSpPr>
              <a:spLocks/>
            </p:cNvSpPr>
            <p:nvPr/>
          </p:nvSpPr>
          <p:spPr bwMode="auto">
            <a:xfrm>
              <a:off x="7789863" y="1279526"/>
              <a:ext cx="77788" cy="68263"/>
            </a:xfrm>
            <a:custGeom>
              <a:avLst/>
              <a:gdLst>
                <a:gd name="T0" fmla="*/ 27 w 27"/>
                <a:gd name="T1" fmla="*/ 2 h 24"/>
                <a:gd name="T2" fmla="*/ 0 w 27"/>
                <a:gd name="T3" fmla="*/ 24 h 24"/>
                <a:gd name="T4" fmla="*/ 27 w 27"/>
                <a:gd name="T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2"/>
                  </a:moveTo>
                  <a:cubicBezTo>
                    <a:pt x="22" y="13"/>
                    <a:pt x="5" y="13"/>
                    <a:pt x="0" y="24"/>
                  </a:cubicBezTo>
                  <a:cubicBezTo>
                    <a:pt x="3" y="14"/>
                    <a:pt x="14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5" name="Freeform 420"/>
            <p:cNvSpPr>
              <a:spLocks/>
            </p:cNvSpPr>
            <p:nvPr/>
          </p:nvSpPr>
          <p:spPr bwMode="auto">
            <a:xfrm>
              <a:off x="7497763" y="1293813"/>
              <a:ext cx="63500" cy="25400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5" y="4"/>
                    <a:pt x="7" y="6"/>
                    <a:pt x="0" y="9"/>
                  </a:cubicBezTo>
                  <a:cubicBezTo>
                    <a:pt x="4" y="3"/>
                    <a:pt x="12" y="1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6" name="Freeform 421"/>
            <p:cNvSpPr>
              <a:spLocks/>
            </p:cNvSpPr>
            <p:nvPr/>
          </p:nvSpPr>
          <p:spPr bwMode="auto">
            <a:xfrm>
              <a:off x="7816850" y="1333501"/>
              <a:ext cx="95250" cy="50800"/>
            </a:xfrm>
            <a:custGeom>
              <a:avLst/>
              <a:gdLst>
                <a:gd name="T0" fmla="*/ 34 w 34"/>
                <a:gd name="T1" fmla="*/ 0 h 18"/>
                <a:gd name="T2" fmla="*/ 30 w 34"/>
                <a:gd name="T3" fmla="*/ 1 h 18"/>
                <a:gd name="T4" fmla="*/ 33 w 34"/>
                <a:gd name="T5" fmla="*/ 4 h 18"/>
                <a:gd name="T6" fmla="*/ 0 w 34"/>
                <a:gd name="T7" fmla="*/ 18 h 18"/>
                <a:gd name="T8" fmla="*/ 34 w 3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4" y="0"/>
                  </a:moveTo>
                  <a:cubicBezTo>
                    <a:pt x="34" y="2"/>
                    <a:pt x="32" y="1"/>
                    <a:pt x="30" y="1"/>
                  </a:cubicBezTo>
                  <a:cubicBezTo>
                    <a:pt x="30" y="4"/>
                    <a:pt x="31" y="4"/>
                    <a:pt x="33" y="4"/>
                  </a:cubicBezTo>
                  <a:cubicBezTo>
                    <a:pt x="21" y="8"/>
                    <a:pt x="13" y="15"/>
                    <a:pt x="0" y="18"/>
                  </a:cubicBezTo>
                  <a:cubicBezTo>
                    <a:pt x="4" y="4"/>
                    <a:pt x="16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7" name="Freeform 422"/>
            <p:cNvSpPr>
              <a:spLocks/>
            </p:cNvSpPr>
            <p:nvPr/>
          </p:nvSpPr>
          <p:spPr bwMode="auto">
            <a:xfrm>
              <a:off x="8085138" y="1336676"/>
              <a:ext cx="39688" cy="36513"/>
            </a:xfrm>
            <a:custGeom>
              <a:avLst/>
              <a:gdLst>
                <a:gd name="T0" fmla="*/ 0 w 14"/>
                <a:gd name="T1" fmla="*/ 0 h 13"/>
                <a:gd name="T2" fmla="*/ 14 w 14"/>
                <a:gd name="T3" fmla="*/ 13 h 13"/>
                <a:gd name="T4" fmla="*/ 0 w 14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0" y="0"/>
                  </a:moveTo>
                  <a:cubicBezTo>
                    <a:pt x="7" y="2"/>
                    <a:pt x="14" y="4"/>
                    <a:pt x="14" y="13"/>
                  </a:cubicBezTo>
                  <a:cubicBezTo>
                    <a:pt x="5" y="13"/>
                    <a:pt x="3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8" name="Freeform 423"/>
            <p:cNvSpPr>
              <a:spLocks/>
            </p:cNvSpPr>
            <p:nvPr/>
          </p:nvSpPr>
          <p:spPr bwMode="auto">
            <a:xfrm>
              <a:off x="7889875" y="1371601"/>
              <a:ext cx="139700" cy="65088"/>
            </a:xfrm>
            <a:custGeom>
              <a:avLst/>
              <a:gdLst>
                <a:gd name="T0" fmla="*/ 49 w 49"/>
                <a:gd name="T1" fmla="*/ 8 h 23"/>
                <a:gd name="T2" fmla="*/ 0 w 49"/>
                <a:gd name="T3" fmla="*/ 23 h 23"/>
                <a:gd name="T4" fmla="*/ 49 w 49"/>
                <a:gd name="T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23">
                  <a:moveTo>
                    <a:pt x="49" y="8"/>
                  </a:moveTo>
                  <a:cubicBezTo>
                    <a:pt x="28" y="10"/>
                    <a:pt x="8" y="7"/>
                    <a:pt x="0" y="23"/>
                  </a:cubicBezTo>
                  <a:cubicBezTo>
                    <a:pt x="0" y="5"/>
                    <a:pt x="30" y="0"/>
                    <a:pt x="4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29" name="Freeform 424"/>
            <p:cNvSpPr>
              <a:spLocks/>
            </p:cNvSpPr>
            <p:nvPr/>
          </p:nvSpPr>
          <p:spPr bwMode="auto">
            <a:xfrm>
              <a:off x="7496175" y="1412876"/>
              <a:ext cx="41275" cy="25400"/>
            </a:xfrm>
            <a:custGeom>
              <a:avLst/>
              <a:gdLst>
                <a:gd name="T0" fmla="*/ 0 w 15"/>
                <a:gd name="T1" fmla="*/ 0 h 9"/>
                <a:gd name="T2" fmla="*/ 15 w 15"/>
                <a:gd name="T3" fmla="*/ 7 h 9"/>
                <a:gd name="T4" fmla="*/ 0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0" y="0"/>
                  </a:moveTo>
                  <a:cubicBezTo>
                    <a:pt x="6" y="2"/>
                    <a:pt x="11" y="4"/>
                    <a:pt x="15" y="7"/>
                  </a:cubicBezTo>
                  <a:cubicBezTo>
                    <a:pt x="11" y="9"/>
                    <a:pt x="4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0" name="Freeform 425"/>
            <p:cNvSpPr>
              <a:spLocks/>
            </p:cNvSpPr>
            <p:nvPr/>
          </p:nvSpPr>
          <p:spPr bwMode="auto">
            <a:xfrm>
              <a:off x="8113713" y="1423988"/>
              <a:ext cx="28575" cy="57150"/>
            </a:xfrm>
            <a:custGeom>
              <a:avLst/>
              <a:gdLst>
                <a:gd name="T0" fmla="*/ 0 w 10"/>
                <a:gd name="T1" fmla="*/ 0 h 20"/>
                <a:gd name="T2" fmla="*/ 10 w 10"/>
                <a:gd name="T3" fmla="*/ 20 h 20"/>
                <a:gd name="T4" fmla="*/ 0 w 1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20">
                  <a:moveTo>
                    <a:pt x="0" y="0"/>
                  </a:moveTo>
                  <a:cubicBezTo>
                    <a:pt x="7" y="3"/>
                    <a:pt x="8" y="12"/>
                    <a:pt x="10" y="20"/>
                  </a:cubicBezTo>
                  <a:cubicBezTo>
                    <a:pt x="6" y="15"/>
                    <a:pt x="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1" name="Freeform 426"/>
            <p:cNvSpPr>
              <a:spLocks/>
            </p:cNvSpPr>
            <p:nvPr/>
          </p:nvSpPr>
          <p:spPr bwMode="auto">
            <a:xfrm>
              <a:off x="8164513" y="1433513"/>
              <a:ext cx="38100" cy="30163"/>
            </a:xfrm>
            <a:custGeom>
              <a:avLst/>
              <a:gdLst>
                <a:gd name="T0" fmla="*/ 0 w 13"/>
                <a:gd name="T1" fmla="*/ 0 h 11"/>
                <a:gd name="T2" fmla="*/ 11 w 13"/>
                <a:gd name="T3" fmla="*/ 11 h 11"/>
                <a:gd name="T4" fmla="*/ 0 w 13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1">
                  <a:moveTo>
                    <a:pt x="0" y="0"/>
                  </a:moveTo>
                  <a:cubicBezTo>
                    <a:pt x="6" y="1"/>
                    <a:pt x="13" y="6"/>
                    <a:pt x="11" y="11"/>
                  </a:cubicBezTo>
                  <a:cubicBezTo>
                    <a:pt x="5" y="10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2" name="Freeform 427"/>
            <p:cNvSpPr>
              <a:spLocks/>
            </p:cNvSpPr>
            <p:nvPr/>
          </p:nvSpPr>
          <p:spPr bwMode="auto">
            <a:xfrm>
              <a:off x="7418388" y="1438276"/>
              <a:ext cx="79375" cy="20638"/>
            </a:xfrm>
            <a:custGeom>
              <a:avLst/>
              <a:gdLst>
                <a:gd name="T0" fmla="*/ 0 w 28"/>
                <a:gd name="T1" fmla="*/ 7 h 7"/>
                <a:gd name="T2" fmla="*/ 18 w 28"/>
                <a:gd name="T3" fmla="*/ 0 h 7"/>
                <a:gd name="T4" fmla="*/ 28 w 28"/>
                <a:gd name="T5" fmla="*/ 4 h 7"/>
                <a:gd name="T6" fmla="*/ 0 w 2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0" y="7"/>
                  </a:moveTo>
                  <a:cubicBezTo>
                    <a:pt x="5" y="1"/>
                    <a:pt x="12" y="5"/>
                    <a:pt x="18" y="0"/>
                  </a:cubicBezTo>
                  <a:cubicBezTo>
                    <a:pt x="20" y="5"/>
                    <a:pt x="24" y="0"/>
                    <a:pt x="28" y="4"/>
                  </a:cubicBezTo>
                  <a:cubicBezTo>
                    <a:pt x="15" y="6"/>
                    <a:pt x="15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3" name="Freeform 428"/>
            <p:cNvSpPr>
              <a:spLocks/>
            </p:cNvSpPr>
            <p:nvPr/>
          </p:nvSpPr>
          <p:spPr bwMode="auto">
            <a:xfrm>
              <a:off x="7270750" y="1543051"/>
              <a:ext cx="26988" cy="49213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16 h 17"/>
                <a:gd name="T4" fmla="*/ 9 w 9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9" y="3"/>
                    <a:pt x="9" y="17"/>
                    <a:pt x="0" y="16"/>
                  </a:cubicBezTo>
                  <a:cubicBezTo>
                    <a:pt x="4" y="12"/>
                    <a:pt x="6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4" name="Freeform 429"/>
            <p:cNvSpPr>
              <a:spLocks/>
            </p:cNvSpPr>
            <p:nvPr/>
          </p:nvSpPr>
          <p:spPr bwMode="auto">
            <a:xfrm>
              <a:off x="7234238" y="1716088"/>
              <a:ext cx="57150" cy="144463"/>
            </a:xfrm>
            <a:custGeom>
              <a:avLst/>
              <a:gdLst>
                <a:gd name="T0" fmla="*/ 17 w 20"/>
                <a:gd name="T1" fmla="*/ 26 h 51"/>
                <a:gd name="T2" fmla="*/ 19 w 20"/>
                <a:gd name="T3" fmla="*/ 0 h 51"/>
                <a:gd name="T4" fmla="*/ 13 w 20"/>
                <a:gd name="T5" fmla="*/ 42 h 51"/>
                <a:gd name="T6" fmla="*/ 14 w 20"/>
                <a:gd name="T7" fmla="*/ 34 h 51"/>
                <a:gd name="T8" fmla="*/ 0 w 20"/>
                <a:gd name="T9" fmla="*/ 51 h 51"/>
                <a:gd name="T10" fmla="*/ 17 w 20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51">
                  <a:moveTo>
                    <a:pt x="17" y="26"/>
                  </a:moveTo>
                  <a:cubicBezTo>
                    <a:pt x="13" y="24"/>
                    <a:pt x="15" y="9"/>
                    <a:pt x="19" y="0"/>
                  </a:cubicBezTo>
                  <a:cubicBezTo>
                    <a:pt x="19" y="12"/>
                    <a:pt x="20" y="32"/>
                    <a:pt x="13" y="42"/>
                  </a:cubicBezTo>
                  <a:cubicBezTo>
                    <a:pt x="8" y="39"/>
                    <a:pt x="15" y="37"/>
                    <a:pt x="14" y="34"/>
                  </a:cubicBezTo>
                  <a:cubicBezTo>
                    <a:pt x="7" y="38"/>
                    <a:pt x="8" y="49"/>
                    <a:pt x="0" y="51"/>
                  </a:cubicBezTo>
                  <a:cubicBezTo>
                    <a:pt x="3" y="40"/>
                    <a:pt x="11" y="34"/>
                    <a:pt x="1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5" name="Freeform 430"/>
            <p:cNvSpPr>
              <a:spLocks/>
            </p:cNvSpPr>
            <p:nvPr/>
          </p:nvSpPr>
          <p:spPr bwMode="auto">
            <a:xfrm>
              <a:off x="7234238" y="1776413"/>
              <a:ext cx="14288" cy="30163"/>
            </a:xfrm>
            <a:custGeom>
              <a:avLst/>
              <a:gdLst>
                <a:gd name="T0" fmla="*/ 5 w 5"/>
                <a:gd name="T1" fmla="*/ 0 h 11"/>
                <a:gd name="T2" fmla="*/ 5 w 5"/>
                <a:gd name="T3" fmla="*/ 9 h 11"/>
                <a:gd name="T4" fmla="*/ 0 w 5"/>
                <a:gd name="T5" fmla="*/ 10 h 11"/>
                <a:gd name="T6" fmla="*/ 5 w 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4"/>
                    <a:pt x="4" y="5"/>
                    <a:pt x="5" y="9"/>
                  </a:cubicBezTo>
                  <a:cubicBezTo>
                    <a:pt x="3" y="9"/>
                    <a:pt x="2" y="11"/>
                    <a:pt x="0" y="10"/>
                  </a:cubicBezTo>
                  <a:cubicBezTo>
                    <a:pt x="0" y="5"/>
                    <a:pt x="0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6" name="Freeform 431"/>
            <p:cNvSpPr>
              <a:spLocks/>
            </p:cNvSpPr>
            <p:nvPr/>
          </p:nvSpPr>
          <p:spPr bwMode="auto">
            <a:xfrm>
              <a:off x="8108950" y="1809751"/>
              <a:ext cx="26988" cy="31750"/>
            </a:xfrm>
            <a:custGeom>
              <a:avLst/>
              <a:gdLst>
                <a:gd name="T0" fmla="*/ 9 w 10"/>
                <a:gd name="T1" fmla="*/ 0 h 11"/>
                <a:gd name="T2" fmla="*/ 0 w 10"/>
                <a:gd name="T3" fmla="*/ 10 h 11"/>
                <a:gd name="T4" fmla="*/ 3 w 10"/>
                <a:gd name="T5" fmla="*/ 1 h 11"/>
                <a:gd name="T6" fmla="*/ 9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9" y="0"/>
                  </a:moveTo>
                  <a:cubicBezTo>
                    <a:pt x="10" y="2"/>
                    <a:pt x="6" y="11"/>
                    <a:pt x="0" y="10"/>
                  </a:cubicBezTo>
                  <a:cubicBezTo>
                    <a:pt x="2" y="5"/>
                    <a:pt x="3" y="6"/>
                    <a:pt x="3" y="1"/>
                  </a:cubicBezTo>
                  <a:cubicBezTo>
                    <a:pt x="7" y="1"/>
                    <a:pt x="7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7" name="Freeform 432"/>
            <p:cNvSpPr>
              <a:spLocks/>
            </p:cNvSpPr>
            <p:nvPr/>
          </p:nvSpPr>
          <p:spPr bwMode="auto">
            <a:xfrm>
              <a:off x="8377238" y="1838326"/>
              <a:ext cx="77788" cy="87313"/>
            </a:xfrm>
            <a:custGeom>
              <a:avLst/>
              <a:gdLst>
                <a:gd name="T0" fmla="*/ 0 w 27"/>
                <a:gd name="T1" fmla="*/ 0 h 31"/>
                <a:gd name="T2" fmla="*/ 23 w 27"/>
                <a:gd name="T3" fmla="*/ 31 h 31"/>
                <a:gd name="T4" fmla="*/ 0 w 27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cubicBezTo>
                    <a:pt x="12" y="5"/>
                    <a:pt x="27" y="17"/>
                    <a:pt x="23" y="31"/>
                  </a:cubicBezTo>
                  <a:cubicBezTo>
                    <a:pt x="15" y="21"/>
                    <a:pt x="6" y="1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8" name="Freeform 433"/>
            <p:cNvSpPr>
              <a:spLocks/>
            </p:cNvSpPr>
            <p:nvPr/>
          </p:nvSpPr>
          <p:spPr bwMode="auto">
            <a:xfrm>
              <a:off x="8340725" y="1849438"/>
              <a:ext cx="20638" cy="39688"/>
            </a:xfrm>
            <a:custGeom>
              <a:avLst/>
              <a:gdLst>
                <a:gd name="T0" fmla="*/ 4 w 7"/>
                <a:gd name="T1" fmla="*/ 0 h 14"/>
                <a:gd name="T2" fmla="*/ 7 w 7"/>
                <a:gd name="T3" fmla="*/ 14 h 14"/>
                <a:gd name="T4" fmla="*/ 4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4" y="0"/>
                  </a:moveTo>
                  <a:cubicBezTo>
                    <a:pt x="7" y="2"/>
                    <a:pt x="7" y="8"/>
                    <a:pt x="7" y="14"/>
                  </a:cubicBezTo>
                  <a:cubicBezTo>
                    <a:pt x="0" y="13"/>
                    <a:pt x="6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9" name="Freeform 434"/>
            <p:cNvSpPr>
              <a:spLocks/>
            </p:cNvSpPr>
            <p:nvPr/>
          </p:nvSpPr>
          <p:spPr bwMode="auto">
            <a:xfrm>
              <a:off x="7975600" y="1911351"/>
              <a:ext cx="53975" cy="26988"/>
            </a:xfrm>
            <a:custGeom>
              <a:avLst/>
              <a:gdLst>
                <a:gd name="T0" fmla="*/ 19 w 19"/>
                <a:gd name="T1" fmla="*/ 1 h 9"/>
                <a:gd name="T2" fmla="*/ 0 w 19"/>
                <a:gd name="T3" fmla="*/ 9 h 9"/>
                <a:gd name="T4" fmla="*/ 19 w 19"/>
                <a:gd name="T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9" y="1"/>
                  </a:moveTo>
                  <a:cubicBezTo>
                    <a:pt x="13" y="3"/>
                    <a:pt x="5" y="5"/>
                    <a:pt x="0" y="9"/>
                  </a:cubicBezTo>
                  <a:cubicBezTo>
                    <a:pt x="1" y="1"/>
                    <a:pt x="10" y="0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0" name="Freeform 435"/>
            <p:cNvSpPr>
              <a:spLocks/>
            </p:cNvSpPr>
            <p:nvPr/>
          </p:nvSpPr>
          <p:spPr bwMode="auto">
            <a:xfrm>
              <a:off x="7458075" y="1938338"/>
              <a:ext cx="49213" cy="55563"/>
            </a:xfrm>
            <a:custGeom>
              <a:avLst/>
              <a:gdLst>
                <a:gd name="T0" fmla="*/ 0 w 17"/>
                <a:gd name="T1" fmla="*/ 19 h 20"/>
                <a:gd name="T2" fmla="*/ 17 w 17"/>
                <a:gd name="T3" fmla="*/ 13 h 20"/>
                <a:gd name="T4" fmla="*/ 9 w 17"/>
                <a:gd name="T5" fmla="*/ 13 h 20"/>
                <a:gd name="T6" fmla="*/ 7 w 17"/>
                <a:gd name="T7" fmla="*/ 20 h 20"/>
                <a:gd name="T8" fmla="*/ 0 w 17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0">
                  <a:moveTo>
                    <a:pt x="0" y="19"/>
                  </a:moveTo>
                  <a:cubicBezTo>
                    <a:pt x="4" y="17"/>
                    <a:pt x="13" y="0"/>
                    <a:pt x="17" y="13"/>
                  </a:cubicBezTo>
                  <a:cubicBezTo>
                    <a:pt x="14" y="13"/>
                    <a:pt x="11" y="13"/>
                    <a:pt x="9" y="13"/>
                  </a:cubicBezTo>
                  <a:cubicBezTo>
                    <a:pt x="10" y="17"/>
                    <a:pt x="10" y="18"/>
                    <a:pt x="7" y="20"/>
                  </a:cubicBezTo>
                  <a:cubicBezTo>
                    <a:pt x="7" y="15"/>
                    <a:pt x="6" y="18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1" name="Freeform 436"/>
            <p:cNvSpPr>
              <a:spLocks/>
            </p:cNvSpPr>
            <p:nvPr/>
          </p:nvSpPr>
          <p:spPr bwMode="auto">
            <a:xfrm>
              <a:off x="7626350" y="1951038"/>
              <a:ext cx="65088" cy="26988"/>
            </a:xfrm>
            <a:custGeom>
              <a:avLst/>
              <a:gdLst>
                <a:gd name="T0" fmla="*/ 0 w 23"/>
                <a:gd name="T1" fmla="*/ 4 h 9"/>
                <a:gd name="T2" fmla="*/ 23 w 23"/>
                <a:gd name="T3" fmla="*/ 6 h 9"/>
                <a:gd name="T4" fmla="*/ 0 w 23"/>
                <a:gd name="T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9">
                  <a:moveTo>
                    <a:pt x="0" y="4"/>
                  </a:moveTo>
                  <a:cubicBezTo>
                    <a:pt x="8" y="0"/>
                    <a:pt x="18" y="4"/>
                    <a:pt x="23" y="6"/>
                  </a:cubicBezTo>
                  <a:cubicBezTo>
                    <a:pt x="17" y="9"/>
                    <a:pt x="9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2" name="Freeform 437"/>
            <p:cNvSpPr>
              <a:spLocks/>
            </p:cNvSpPr>
            <p:nvPr/>
          </p:nvSpPr>
          <p:spPr bwMode="auto">
            <a:xfrm>
              <a:off x="7273925" y="2090738"/>
              <a:ext cx="28575" cy="47625"/>
            </a:xfrm>
            <a:custGeom>
              <a:avLst/>
              <a:gdLst>
                <a:gd name="T0" fmla="*/ 5 w 10"/>
                <a:gd name="T1" fmla="*/ 0 h 17"/>
                <a:gd name="T2" fmla="*/ 7 w 10"/>
                <a:gd name="T3" fmla="*/ 17 h 17"/>
                <a:gd name="T4" fmla="*/ 5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5" y="0"/>
                  </a:moveTo>
                  <a:cubicBezTo>
                    <a:pt x="10" y="3"/>
                    <a:pt x="7" y="12"/>
                    <a:pt x="7" y="17"/>
                  </a:cubicBezTo>
                  <a:cubicBezTo>
                    <a:pt x="0" y="14"/>
                    <a:pt x="7" y="6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3" name="Freeform 438"/>
            <p:cNvSpPr>
              <a:spLocks/>
            </p:cNvSpPr>
            <p:nvPr/>
          </p:nvSpPr>
          <p:spPr bwMode="auto">
            <a:xfrm>
              <a:off x="7200900" y="2101851"/>
              <a:ext cx="57150" cy="79375"/>
            </a:xfrm>
            <a:custGeom>
              <a:avLst/>
              <a:gdLst>
                <a:gd name="T0" fmla="*/ 17 w 20"/>
                <a:gd name="T1" fmla="*/ 0 h 28"/>
                <a:gd name="T2" fmla="*/ 20 w 20"/>
                <a:gd name="T3" fmla="*/ 4 h 28"/>
                <a:gd name="T4" fmla="*/ 0 w 20"/>
                <a:gd name="T5" fmla="*/ 28 h 28"/>
                <a:gd name="T6" fmla="*/ 17 w 2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8">
                  <a:moveTo>
                    <a:pt x="17" y="0"/>
                  </a:moveTo>
                  <a:cubicBezTo>
                    <a:pt x="19" y="0"/>
                    <a:pt x="20" y="1"/>
                    <a:pt x="20" y="4"/>
                  </a:cubicBezTo>
                  <a:cubicBezTo>
                    <a:pt x="10" y="11"/>
                    <a:pt x="11" y="24"/>
                    <a:pt x="0" y="28"/>
                  </a:cubicBezTo>
                  <a:cubicBezTo>
                    <a:pt x="1" y="13"/>
                    <a:pt x="11" y="8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4" name="Freeform 439"/>
            <p:cNvSpPr>
              <a:spLocks/>
            </p:cNvSpPr>
            <p:nvPr/>
          </p:nvSpPr>
          <p:spPr bwMode="auto">
            <a:xfrm>
              <a:off x="7370763" y="2260601"/>
              <a:ext cx="19050" cy="33338"/>
            </a:xfrm>
            <a:custGeom>
              <a:avLst/>
              <a:gdLst>
                <a:gd name="T0" fmla="*/ 0 w 7"/>
                <a:gd name="T1" fmla="*/ 0 h 12"/>
                <a:gd name="T2" fmla="*/ 7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3" y="3"/>
                    <a:pt x="7" y="6"/>
                    <a:pt x="7" y="12"/>
                  </a:cubicBezTo>
                  <a:cubicBezTo>
                    <a:pt x="2" y="11"/>
                    <a:pt x="0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5" name="Freeform 440"/>
            <p:cNvSpPr>
              <a:spLocks/>
            </p:cNvSpPr>
            <p:nvPr/>
          </p:nvSpPr>
          <p:spPr bwMode="auto">
            <a:xfrm>
              <a:off x="7969250" y="2278063"/>
              <a:ext cx="47625" cy="36513"/>
            </a:xfrm>
            <a:custGeom>
              <a:avLst/>
              <a:gdLst>
                <a:gd name="T0" fmla="*/ 3 w 17"/>
                <a:gd name="T1" fmla="*/ 0 h 13"/>
                <a:gd name="T2" fmla="*/ 17 w 17"/>
                <a:gd name="T3" fmla="*/ 13 h 13"/>
                <a:gd name="T4" fmla="*/ 7 w 17"/>
                <a:gd name="T5" fmla="*/ 10 h 13"/>
                <a:gd name="T6" fmla="*/ 3 w 17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3">
                  <a:moveTo>
                    <a:pt x="3" y="0"/>
                  </a:moveTo>
                  <a:cubicBezTo>
                    <a:pt x="6" y="5"/>
                    <a:pt x="14" y="7"/>
                    <a:pt x="17" y="13"/>
                  </a:cubicBezTo>
                  <a:cubicBezTo>
                    <a:pt x="15" y="12"/>
                    <a:pt x="8" y="8"/>
                    <a:pt x="7" y="10"/>
                  </a:cubicBezTo>
                  <a:cubicBezTo>
                    <a:pt x="7" y="5"/>
                    <a:pt x="0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6" name="Freeform 441"/>
            <p:cNvSpPr>
              <a:spLocks/>
            </p:cNvSpPr>
            <p:nvPr/>
          </p:nvSpPr>
          <p:spPr bwMode="auto">
            <a:xfrm>
              <a:off x="7575550" y="2282826"/>
              <a:ext cx="95250" cy="139700"/>
            </a:xfrm>
            <a:custGeom>
              <a:avLst/>
              <a:gdLst>
                <a:gd name="T0" fmla="*/ 30 w 34"/>
                <a:gd name="T1" fmla="*/ 0 h 49"/>
                <a:gd name="T2" fmla="*/ 19 w 34"/>
                <a:gd name="T3" fmla="*/ 13 h 49"/>
                <a:gd name="T4" fmla="*/ 9 w 34"/>
                <a:gd name="T5" fmla="*/ 49 h 49"/>
                <a:gd name="T6" fmla="*/ 30 w 34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9">
                  <a:moveTo>
                    <a:pt x="30" y="0"/>
                  </a:moveTo>
                  <a:cubicBezTo>
                    <a:pt x="34" y="2"/>
                    <a:pt x="24" y="12"/>
                    <a:pt x="19" y="13"/>
                  </a:cubicBezTo>
                  <a:cubicBezTo>
                    <a:pt x="15" y="24"/>
                    <a:pt x="7" y="32"/>
                    <a:pt x="9" y="49"/>
                  </a:cubicBezTo>
                  <a:cubicBezTo>
                    <a:pt x="0" y="27"/>
                    <a:pt x="15" y="1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7" name="Freeform 442"/>
            <p:cNvSpPr>
              <a:spLocks/>
            </p:cNvSpPr>
            <p:nvPr/>
          </p:nvSpPr>
          <p:spPr bwMode="auto">
            <a:xfrm>
              <a:off x="8296275" y="2386013"/>
              <a:ext cx="33338" cy="36513"/>
            </a:xfrm>
            <a:custGeom>
              <a:avLst/>
              <a:gdLst>
                <a:gd name="T0" fmla="*/ 2 w 12"/>
                <a:gd name="T1" fmla="*/ 0 h 13"/>
                <a:gd name="T2" fmla="*/ 10 w 12"/>
                <a:gd name="T3" fmla="*/ 0 h 13"/>
                <a:gd name="T4" fmla="*/ 6 w 12"/>
                <a:gd name="T5" fmla="*/ 12 h 13"/>
                <a:gd name="T6" fmla="*/ 2 w 1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3">
                  <a:moveTo>
                    <a:pt x="2" y="0"/>
                  </a:moveTo>
                  <a:cubicBezTo>
                    <a:pt x="5" y="0"/>
                    <a:pt x="7" y="0"/>
                    <a:pt x="10" y="0"/>
                  </a:cubicBezTo>
                  <a:cubicBezTo>
                    <a:pt x="9" y="5"/>
                    <a:pt x="12" y="13"/>
                    <a:pt x="6" y="12"/>
                  </a:cubicBezTo>
                  <a:cubicBezTo>
                    <a:pt x="0" y="10"/>
                    <a:pt x="3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8" name="Freeform 443"/>
            <p:cNvSpPr>
              <a:spLocks/>
            </p:cNvSpPr>
            <p:nvPr/>
          </p:nvSpPr>
          <p:spPr bwMode="auto">
            <a:xfrm>
              <a:off x="7972425" y="2425701"/>
              <a:ext cx="98425" cy="79375"/>
            </a:xfrm>
            <a:custGeom>
              <a:avLst/>
              <a:gdLst>
                <a:gd name="T0" fmla="*/ 20 w 35"/>
                <a:gd name="T1" fmla="*/ 9 h 28"/>
                <a:gd name="T2" fmla="*/ 23 w 35"/>
                <a:gd name="T3" fmla="*/ 13 h 28"/>
                <a:gd name="T4" fmla="*/ 6 w 35"/>
                <a:gd name="T5" fmla="*/ 20 h 28"/>
                <a:gd name="T6" fmla="*/ 6 w 35"/>
                <a:gd name="T7" fmla="*/ 24 h 28"/>
                <a:gd name="T8" fmla="*/ 0 w 35"/>
                <a:gd name="T9" fmla="*/ 21 h 28"/>
                <a:gd name="T10" fmla="*/ 27 w 35"/>
                <a:gd name="T11" fmla="*/ 0 h 28"/>
                <a:gd name="T12" fmla="*/ 35 w 35"/>
                <a:gd name="T13" fmla="*/ 2 h 28"/>
                <a:gd name="T14" fmla="*/ 29 w 35"/>
                <a:gd name="T15" fmla="*/ 8 h 28"/>
                <a:gd name="T16" fmla="*/ 24 w 35"/>
                <a:gd name="T17" fmla="*/ 7 h 28"/>
                <a:gd name="T18" fmla="*/ 20 w 35"/>
                <a:gd name="T19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0" y="9"/>
                  </a:moveTo>
                  <a:cubicBezTo>
                    <a:pt x="21" y="11"/>
                    <a:pt x="23" y="11"/>
                    <a:pt x="23" y="13"/>
                  </a:cubicBezTo>
                  <a:cubicBezTo>
                    <a:pt x="11" y="12"/>
                    <a:pt x="14" y="23"/>
                    <a:pt x="6" y="20"/>
                  </a:cubicBezTo>
                  <a:cubicBezTo>
                    <a:pt x="5" y="20"/>
                    <a:pt x="4" y="24"/>
                    <a:pt x="6" y="24"/>
                  </a:cubicBezTo>
                  <a:cubicBezTo>
                    <a:pt x="4" y="28"/>
                    <a:pt x="2" y="21"/>
                    <a:pt x="0" y="21"/>
                  </a:cubicBezTo>
                  <a:cubicBezTo>
                    <a:pt x="7" y="13"/>
                    <a:pt x="21" y="10"/>
                    <a:pt x="27" y="0"/>
                  </a:cubicBezTo>
                  <a:cubicBezTo>
                    <a:pt x="30" y="0"/>
                    <a:pt x="33" y="0"/>
                    <a:pt x="35" y="2"/>
                  </a:cubicBezTo>
                  <a:cubicBezTo>
                    <a:pt x="32" y="3"/>
                    <a:pt x="30" y="5"/>
                    <a:pt x="29" y="8"/>
                  </a:cubicBezTo>
                  <a:cubicBezTo>
                    <a:pt x="27" y="8"/>
                    <a:pt x="27" y="7"/>
                    <a:pt x="24" y="7"/>
                  </a:cubicBezTo>
                  <a:cubicBezTo>
                    <a:pt x="26" y="12"/>
                    <a:pt x="25" y="10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9" name="Freeform 444"/>
            <p:cNvSpPr>
              <a:spLocks/>
            </p:cNvSpPr>
            <p:nvPr/>
          </p:nvSpPr>
          <p:spPr bwMode="auto">
            <a:xfrm>
              <a:off x="7277100" y="2451101"/>
              <a:ext cx="20638" cy="33338"/>
            </a:xfrm>
            <a:custGeom>
              <a:avLst/>
              <a:gdLst>
                <a:gd name="T0" fmla="*/ 2 w 7"/>
                <a:gd name="T1" fmla="*/ 0 h 12"/>
                <a:gd name="T2" fmla="*/ 7 w 7"/>
                <a:gd name="T3" fmla="*/ 12 h 12"/>
                <a:gd name="T4" fmla="*/ 2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2" y="0"/>
                  </a:moveTo>
                  <a:cubicBezTo>
                    <a:pt x="7" y="1"/>
                    <a:pt x="7" y="7"/>
                    <a:pt x="7" y="12"/>
                  </a:cubicBezTo>
                  <a:cubicBezTo>
                    <a:pt x="2" y="9"/>
                    <a:pt x="0" y="8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0" name="Freeform 445"/>
            <p:cNvSpPr>
              <a:spLocks/>
            </p:cNvSpPr>
            <p:nvPr/>
          </p:nvSpPr>
          <p:spPr bwMode="auto">
            <a:xfrm>
              <a:off x="7404100" y="2513013"/>
              <a:ext cx="52388" cy="111125"/>
            </a:xfrm>
            <a:custGeom>
              <a:avLst/>
              <a:gdLst>
                <a:gd name="T0" fmla="*/ 5 w 18"/>
                <a:gd name="T1" fmla="*/ 0 h 39"/>
                <a:gd name="T2" fmla="*/ 5 w 18"/>
                <a:gd name="T3" fmla="*/ 39 h 39"/>
                <a:gd name="T4" fmla="*/ 10 w 18"/>
                <a:gd name="T5" fmla="*/ 16 h 39"/>
                <a:gd name="T6" fmla="*/ 5 w 18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39">
                  <a:moveTo>
                    <a:pt x="5" y="0"/>
                  </a:moveTo>
                  <a:cubicBezTo>
                    <a:pt x="17" y="7"/>
                    <a:pt x="18" y="33"/>
                    <a:pt x="5" y="39"/>
                  </a:cubicBezTo>
                  <a:cubicBezTo>
                    <a:pt x="0" y="30"/>
                    <a:pt x="4" y="22"/>
                    <a:pt x="10" y="16"/>
                  </a:cubicBezTo>
                  <a:cubicBezTo>
                    <a:pt x="10" y="9"/>
                    <a:pt x="4" y="7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1" name="Freeform 446"/>
            <p:cNvSpPr>
              <a:spLocks/>
            </p:cNvSpPr>
            <p:nvPr/>
          </p:nvSpPr>
          <p:spPr bwMode="auto">
            <a:xfrm>
              <a:off x="8016875" y="2519363"/>
              <a:ext cx="57150" cy="36513"/>
            </a:xfrm>
            <a:custGeom>
              <a:avLst/>
              <a:gdLst>
                <a:gd name="T0" fmla="*/ 17 w 20"/>
                <a:gd name="T1" fmla="*/ 13 h 13"/>
                <a:gd name="T2" fmla="*/ 2 w 20"/>
                <a:gd name="T3" fmla="*/ 7 h 13"/>
                <a:gd name="T4" fmla="*/ 0 w 20"/>
                <a:gd name="T5" fmla="*/ 4 h 13"/>
                <a:gd name="T6" fmla="*/ 17 w 20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2" y="10"/>
                    <a:pt x="8" y="11"/>
                    <a:pt x="2" y="7"/>
                  </a:cubicBezTo>
                  <a:cubicBezTo>
                    <a:pt x="2" y="6"/>
                    <a:pt x="2" y="4"/>
                    <a:pt x="0" y="4"/>
                  </a:cubicBezTo>
                  <a:cubicBezTo>
                    <a:pt x="5" y="0"/>
                    <a:pt x="20" y="3"/>
                    <a:pt x="1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2" name="Freeform 447"/>
            <p:cNvSpPr>
              <a:spLocks/>
            </p:cNvSpPr>
            <p:nvPr/>
          </p:nvSpPr>
          <p:spPr bwMode="auto">
            <a:xfrm>
              <a:off x="7832725" y="2635251"/>
              <a:ext cx="25400" cy="44450"/>
            </a:xfrm>
            <a:custGeom>
              <a:avLst/>
              <a:gdLst>
                <a:gd name="T0" fmla="*/ 2 w 9"/>
                <a:gd name="T1" fmla="*/ 0 h 16"/>
                <a:gd name="T2" fmla="*/ 9 w 9"/>
                <a:gd name="T3" fmla="*/ 13 h 16"/>
                <a:gd name="T4" fmla="*/ 3 w 9"/>
                <a:gd name="T5" fmla="*/ 15 h 16"/>
                <a:gd name="T6" fmla="*/ 2 w 9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2" y="0"/>
                  </a:moveTo>
                  <a:cubicBezTo>
                    <a:pt x="6" y="5"/>
                    <a:pt x="3" y="12"/>
                    <a:pt x="9" y="13"/>
                  </a:cubicBezTo>
                  <a:cubicBezTo>
                    <a:pt x="8" y="15"/>
                    <a:pt x="6" y="16"/>
                    <a:pt x="3" y="15"/>
                  </a:cubicBezTo>
                  <a:cubicBezTo>
                    <a:pt x="2" y="8"/>
                    <a:pt x="0" y="6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3" name="Freeform 449"/>
            <p:cNvSpPr>
              <a:spLocks noEditPoints="1"/>
            </p:cNvSpPr>
            <p:nvPr/>
          </p:nvSpPr>
          <p:spPr bwMode="auto">
            <a:xfrm>
              <a:off x="7200900" y="1293813"/>
              <a:ext cx="935038" cy="1273175"/>
            </a:xfrm>
            <a:custGeom>
              <a:avLst/>
              <a:gdLst>
                <a:gd name="T0" fmla="*/ 137 w 330"/>
                <a:gd name="T1" fmla="*/ 425 h 449"/>
                <a:gd name="T2" fmla="*/ 105 w 330"/>
                <a:gd name="T3" fmla="*/ 9 h 449"/>
                <a:gd name="T4" fmla="*/ 25 w 330"/>
                <a:gd name="T5" fmla="*/ 104 h 449"/>
                <a:gd name="T6" fmla="*/ 26 w 330"/>
                <a:gd name="T7" fmla="*/ 127 h 449"/>
                <a:gd name="T8" fmla="*/ 12 w 330"/>
                <a:gd name="T9" fmla="*/ 200 h 449"/>
                <a:gd name="T10" fmla="*/ 31 w 330"/>
                <a:gd name="T11" fmla="*/ 149 h 449"/>
                <a:gd name="T12" fmla="*/ 12 w 330"/>
                <a:gd name="T13" fmla="*/ 180 h 449"/>
                <a:gd name="T14" fmla="*/ 12 w 330"/>
                <a:gd name="T15" fmla="*/ 180 h 449"/>
                <a:gd name="T16" fmla="*/ 329 w 330"/>
                <a:gd name="T17" fmla="*/ 182 h 449"/>
                <a:gd name="T18" fmla="*/ 272 w 330"/>
                <a:gd name="T19" fmla="*/ 202 h 449"/>
                <a:gd name="T20" fmla="*/ 248 w 330"/>
                <a:gd name="T21" fmla="*/ 210 h 449"/>
                <a:gd name="T22" fmla="*/ 296 w 330"/>
                <a:gd name="T23" fmla="*/ 207 h 449"/>
                <a:gd name="T24" fmla="*/ 279 w 330"/>
                <a:gd name="T25" fmla="*/ 201 h 449"/>
                <a:gd name="T26" fmla="*/ 98 w 330"/>
                <a:gd name="T27" fmla="*/ 222 h 449"/>
                <a:gd name="T28" fmla="*/ 105 w 330"/>
                <a:gd name="T29" fmla="*/ 228 h 449"/>
                <a:gd name="T30" fmla="*/ 175 w 330"/>
                <a:gd name="T31" fmla="*/ 219 h 449"/>
                <a:gd name="T32" fmla="*/ 170 w 330"/>
                <a:gd name="T33" fmla="*/ 219 h 449"/>
                <a:gd name="T34" fmla="*/ 140 w 330"/>
                <a:gd name="T35" fmla="*/ 214 h 449"/>
                <a:gd name="T36" fmla="*/ 110 w 330"/>
                <a:gd name="T37" fmla="*/ 211 h 449"/>
                <a:gd name="T38" fmla="*/ 292 w 330"/>
                <a:gd name="T39" fmla="*/ 219 h 449"/>
                <a:gd name="T40" fmla="*/ 100 w 330"/>
                <a:gd name="T41" fmla="*/ 240 h 449"/>
                <a:gd name="T42" fmla="*/ 98 w 330"/>
                <a:gd name="T43" fmla="*/ 247 h 449"/>
                <a:gd name="T44" fmla="*/ 173 w 330"/>
                <a:gd name="T45" fmla="*/ 238 h 449"/>
                <a:gd name="T46" fmla="*/ 133 w 330"/>
                <a:gd name="T47" fmla="*/ 259 h 449"/>
                <a:gd name="T48" fmla="*/ 113 w 330"/>
                <a:gd name="T49" fmla="*/ 263 h 449"/>
                <a:gd name="T50" fmla="*/ 100 w 330"/>
                <a:gd name="T51" fmla="*/ 264 h 449"/>
                <a:gd name="T52" fmla="*/ 33 w 330"/>
                <a:gd name="T53" fmla="*/ 298 h 449"/>
                <a:gd name="T54" fmla="*/ 17 w 330"/>
                <a:gd name="T55" fmla="*/ 285 h 449"/>
                <a:gd name="T56" fmla="*/ 269 w 330"/>
                <a:gd name="T57" fmla="*/ 335 h 449"/>
                <a:gd name="T58" fmla="*/ 255 w 330"/>
                <a:gd name="T59" fmla="*/ 303 h 449"/>
                <a:gd name="T60" fmla="*/ 194 w 330"/>
                <a:gd name="T61" fmla="*/ 329 h 449"/>
                <a:gd name="T62" fmla="*/ 197 w 330"/>
                <a:gd name="T63" fmla="*/ 365 h 449"/>
                <a:gd name="T64" fmla="*/ 208 w 330"/>
                <a:gd name="T65" fmla="*/ 348 h 449"/>
                <a:gd name="T66" fmla="*/ 211 w 330"/>
                <a:gd name="T67" fmla="*/ 363 h 449"/>
                <a:gd name="T68" fmla="*/ 221 w 330"/>
                <a:gd name="T69" fmla="*/ 366 h 449"/>
                <a:gd name="T70" fmla="*/ 212 w 330"/>
                <a:gd name="T71" fmla="*/ 369 h 449"/>
                <a:gd name="T72" fmla="*/ 246 w 330"/>
                <a:gd name="T73" fmla="*/ 354 h 449"/>
                <a:gd name="T74" fmla="*/ 228 w 330"/>
                <a:gd name="T75" fmla="*/ 347 h 449"/>
                <a:gd name="T76" fmla="*/ 257 w 330"/>
                <a:gd name="T77" fmla="*/ 354 h 449"/>
                <a:gd name="T78" fmla="*/ 269 w 330"/>
                <a:gd name="T79" fmla="*/ 358 h 449"/>
                <a:gd name="T80" fmla="*/ 270 w 330"/>
                <a:gd name="T81" fmla="*/ 352 h 449"/>
                <a:gd name="T82" fmla="*/ 261 w 330"/>
                <a:gd name="T83" fmla="*/ 343 h 449"/>
                <a:gd name="T84" fmla="*/ 268 w 330"/>
                <a:gd name="T85" fmla="*/ 338 h 449"/>
                <a:gd name="T86" fmla="*/ 52 w 330"/>
                <a:gd name="T87" fmla="*/ 340 h 449"/>
                <a:gd name="T88" fmla="*/ 77 w 330"/>
                <a:gd name="T89" fmla="*/ 326 h 449"/>
                <a:gd name="T90" fmla="*/ 60 w 330"/>
                <a:gd name="T91" fmla="*/ 341 h 449"/>
                <a:gd name="T92" fmla="*/ 288 w 330"/>
                <a:gd name="T93" fmla="*/ 360 h 449"/>
                <a:gd name="T94" fmla="*/ 141 w 330"/>
                <a:gd name="T95" fmla="*/ 398 h 449"/>
                <a:gd name="T96" fmla="*/ 141 w 330"/>
                <a:gd name="T97" fmla="*/ 398 h 449"/>
                <a:gd name="T98" fmla="*/ 273 w 330"/>
                <a:gd name="T99" fmla="*/ 370 h 449"/>
                <a:gd name="T100" fmla="*/ 273 w 330"/>
                <a:gd name="T101" fmla="*/ 367 h 449"/>
                <a:gd name="T102" fmla="*/ 34 w 330"/>
                <a:gd name="T103" fmla="*/ 4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0" h="449">
                  <a:moveTo>
                    <a:pt x="137" y="425"/>
                  </a:moveTo>
                  <a:cubicBezTo>
                    <a:pt x="139" y="432"/>
                    <a:pt x="145" y="449"/>
                    <a:pt x="150" y="439"/>
                  </a:cubicBezTo>
                  <a:cubicBezTo>
                    <a:pt x="143" y="438"/>
                    <a:pt x="142" y="430"/>
                    <a:pt x="137" y="425"/>
                  </a:cubicBezTo>
                  <a:close/>
                  <a:moveTo>
                    <a:pt x="105" y="9"/>
                  </a:moveTo>
                  <a:cubicBezTo>
                    <a:pt x="112" y="6"/>
                    <a:pt x="120" y="4"/>
                    <a:pt x="127" y="0"/>
                  </a:cubicBezTo>
                  <a:cubicBezTo>
                    <a:pt x="117" y="1"/>
                    <a:pt x="109" y="3"/>
                    <a:pt x="105" y="9"/>
                  </a:cubicBezTo>
                  <a:close/>
                  <a:moveTo>
                    <a:pt x="25" y="104"/>
                  </a:moveTo>
                  <a:cubicBezTo>
                    <a:pt x="34" y="105"/>
                    <a:pt x="34" y="91"/>
                    <a:pt x="34" y="88"/>
                  </a:cubicBezTo>
                  <a:cubicBezTo>
                    <a:pt x="31" y="93"/>
                    <a:pt x="29" y="100"/>
                    <a:pt x="25" y="104"/>
                  </a:cubicBezTo>
                  <a:close/>
                  <a:moveTo>
                    <a:pt x="27" y="115"/>
                  </a:moveTo>
                  <a:cubicBezTo>
                    <a:pt x="28" y="113"/>
                    <a:pt x="30" y="114"/>
                    <a:pt x="30" y="116"/>
                  </a:cubicBezTo>
                  <a:cubicBezTo>
                    <a:pt x="27" y="118"/>
                    <a:pt x="28" y="124"/>
                    <a:pt x="26" y="127"/>
                  </a:cubicBezTo>
                  <a:cubicBezTo>
                    <a:pt x="32" y="125"/>
                    <a:pt x="30" y="115"/>
                    <a:pt x="33" y="109"/>
                  </a:cubicBezTo>
                  <a:cubicBezTo>
                    <a:pt x="30" y="110"/>
                    <a:pt x="25" y="114"/>
                    <a:pt x="27" y="115"/>
                  </a:cubicBezTo>
                  <a:close/>
                  <a:moveTo>
                    <a:pt x="12" y="200"/>
                  </a:moveTo>
                  <a:cubicBezTo>
                    <a:pt x="20" y="198"/>
                    <a:pt x="19" y="187"/>
                    <a:pt x="26" y="183"/>
                  </a:cubicBezTo>
                  <a:cubicBezTo>
                    <a:pt x="27" y="186"/>
                    <a:pt x="20" y="188"/>
                    <a:pt x="25" y="191"/>
                  </a:cubicBezTo>
                  <a:cubicBezTo>
                    <a:pt x="32" y="181"/>
                    <a:pt x="31" y="161"/>
                    <a:pt x="31" y="149"/>
                  </a:cubicBezTo>
                  <a:cubicBezTo>
                    <a:pt x="27" y="158"/>
                    <a:pt x="25" y="173"/>
                    <a:pt x="29" y="175"/>
                  </a:cubicBezTo>
                  <a:cubicBezTo>
                    <a:pt x="23" y="183"/>
                    <a:pt x="15" y="189"/>
                    <a:pt x="12" y="200"/>
                  </a:cubicBezTo>
                  <a:close/>
                  <a:moveTo>
                    <a:pt x="12" y="180"/>
                  </a:moveTo>
                  <a:cubicBezTo>
                    <a:pt x="14" y="181"/>
                    <a:pt x="15" y="179"/>
                    <a:pt x="17" y="179"/>
                  </a:cubicBezTo>
                  <a:cubicBezTo>
                    <a:pt x="16" y="175"/>
                    <a:pt x="16" y="174"/>
                    <a:pt x="17" y="170"/>
                  </a:cubicBezTo>
                  <a:cubicBezTo>
                    <a:pt x="12" y="170"/>
                    <a:pt x="12" y="175"/>
                    <a:pt x="12" y="180"/>
                  </a:cubicBezTo>
                  <a:close/>
                  <a:moveTo>
                    <a:pt x="323" y="183"/>
                  </a:moveTo>
                  <a:cubicBezTo>
                    <a:pt x="323" y="188"/>
                    <a:pt x="322" y="187"/>
                    <a:pt x="320" y="192"/>
                  </a:cubicBezTo>
                  <a:cubicBezTo>
                    <a:pt x="326" y="193"/>
                    <a:pt x="330" y="184"/>
                    <a:pt x="329" y="182"/>
                  </a:cubicBezTo>
                  <a:cubicBezTo>
                    <a:pt x="327" y="185"/>
                    <a:pt x="327" y="183"/>
                    <a:pt x="323" y="183"/>
                  </a:cubicBezTo>
                  <a:close/>
                  <a:moveTo>
                    <a:pt x="268" y="209"/>
                  </a:moveTo>
                  <a:cubicBezTo>
                    <a:pt x="266" y="204"/>
                    <a:pt x="271" y="205"/>
                    <a:pt x="272" y="202"/>
                  </a:cubicBezTo>
                  <a:cubicBezTo>
                    <a:pt x="269" y="199"/>
                    <a:pt x="266" y="203"/>
                    <a:pt x="261" y="202"/>
                  </a:cubicBezTo>
                  <a:cubicBezTo>
                    <a:pt x="258" y="205"/>
                    <a:pt x="259" y="211"/>
                    <a:pt x="255" y="213"/>
                  </a:cubicBezTo>
                  <a:cubicBezTo>
                    <a:pt x="254" y="211"/>
                    <a:pt x="251" y="211"/>
                    <a:pt x="248" y="210"/>
                  </a:cubicBezTo>
                  <a:cubicBezTo>
                    <a:pt x="251" y="217"/>
                    <a:pt x="244" y="220"/>
                    <a:pt x="238" y="222"/>
                  </a:cubicBezTo>
                  <a:cubicBezTo>
                    <a:pt x="237" y="228"/>
                    <a:pt x="240" y="231"/>
                    <a:pt x="239" y="237"/>
                  </a:cubicBezTo>
                  <a:cubicBezTo>
                    <a:pt x="251" y="220"/>
                    <a:pt x="278" y="218"/>
                    <a:pt x="296" y="207"/>
                  </a:cubicBezTo>
                  <a:cubicBezTo>
                    <a:pt x="288" y="203"/>
                    <a:pt x="302" y="200"/>
                    <a:pt x="301" y="195"/>
                  </a:cubicBezTo>
                  <a:cubicBezTo>
                    <a:pt x="296" y="197"/>
                    <a:pt x="290" y="200"/>
                    <a:pt x="286" y="204"/>
                  </a:cubicBezTo>
                  <a:cubicBezTo>
                    <a:pt x="287" y="200"/>
                    <a:pt x="279" y="200"/>
                    <a:pt x="279" y="201"/>
                  </a:cubicBezTo>
                  <a:cubicBezTo>
                    <a:pt x="282" y="205"/>
                    <a:pt x="269" y="205"/>
                    <a:pt x="268" y="209"/>
                  </a:cubicBezTo>
                  <a:close/>
                  <a:moveTo>
                    <a:pt x="111" y="218"/>
                  </a:moveTo>
                  <a:cubicBezTo>
                    <a:pt x="108" y="215"/>
                    <a:pt x="98" y="216"/>
                    <a:pt x="98" y="222"/>
                  </a:cubicBezTo>
                  <a:cubicBezTo>
                    <a:pt x="103" y="224"/>
                    <a:pt x="104" y="221"/>
                    <a:pt x="109" y="220"/>
                  </a:cubicBezTo>
                  <a:cubicBezTo>
                    <a:pt x="106" y="228"/>
                    <a:pt x="111" y="220"/>
                    <a:pt x="113" y="223"/>
                  </a:cubicBezTo>
                  <a:cubicBezTo>
                    <a:pt x="113" y="228"/>
                    <a:pt x="107" y="226"/>
                    <a:pt x="105" y="228"/>
                  </a:cubicBezTo>
                  <a:cubicBezTo>
                    <a:pt x="111" y="227"/>
                    <a:pt x="106" y="230"/>
                    <a:pt x="109" y="232"/>
                  </a:cubicBezTo>
                  <a:cubicBezTo>
                    <a:pt x="138" y="226"/>
                    <a:pt x="180" y="231"/>
                    <a:pt x="208" y="234"/>
                  </a:cubicBezTo>
                  <a:cubicBezTo>
                    <a:pt x="202" y="222"/>
                    <a:pt x="185" y="221"/>
                    <a:pt x="175" y="219"/>
                  </a:cubicBezTo>
                  <a:cubicBezTo>
                    <a:pt x="176" y="219"/>
                    <a:pt x="177" y="219"/>
                    <a:pt x="177" y="220"/>
                  </a:cubicBezTo>
                  <a:cubicBezTo>
                    <a:pt x="169" y="222"/>
                    <a:pt x="178" y="214"/>
                    <a:pt x="172" y="215"/>
                  </a:cubicBezTo>
                  <a:cubicBezTo>
                    <a:pt x="166" y="214"/>
                    <a:pt x="173" y="219"/>
                    <a:pt x="170" y="219"/>
                  </a:cubicBezTo>
                  <a:cubicBezTo>
                    <a:pt x="164" y="220"/>
                    <a:pt x="157" y="212"/>
                    <a:pt x="155" y="219"/>
                  </a:cubicBezTo>
                  <a:cubicBezTo>
                    <a:pt x="151" y="212"/>
                    <a:pt x="144" y="216"/>
                    <a:pt x="141" y="219"/>
                  </a:cubicBezTo>
                  <a:cubicBezTo>
                    <a:pt x="141" y="217"/>
                    <a:pt x="142" y="214"/>
                    <a:pt x="140" y="214"/>
                  </a:cubicBezTo>
                  <a:cubicBezTo>
                    <a:pt x="135" y="215"/>
                    <a:pt x="128" y="216"/>
                    <a:pt x="124" y="213"/>
                  </a:cubicBezTo>
                  <a:cubicBezTo>
                    <a:pt x="120" y="216"/>
                    <a:pt x="117" y="213"/>
                    <a:pt x="111" y="215"/>
                  </a:cubicBezTo>
                  <a:cubicBezTo>
                    <a:pt x="112" y="214"/>
                    <a:pt x="114" y="210"/>
                    <a:pt x="110" y="211"/>
                  </a:cubicBezTo>
                  <a:cubicBezTo>
                    <a:pt x="109" y="215"/>
                    <a:pt x="112" y="215"/>
                    <a:pt x="111" y="218"/>
                  </a:cubicBezTo>
                  <a:close/>
                  <a:moveTo>
                    <a:pt x="273" y="227"/>
                  </a:moveTo>
                  <a:cubicBezTo>
                    <a:pt x="278" y="223"/>
                    <a:pt x="286" y="221"/>
                    <a:pt x="292" y="219"/>
                  </a:cubicBezTo>
                  <a:cubicBezTo>
                    <a:pt x="283" y="218"/>
                    <a:pt x="274" y="219"/>
                    <a:pt x="273" y="227"/>
                  </a:cubicBezTo>
                  <a:close/>
                  <a:moveTo>
                    <a:pt x="98" y="247"/>
                  </a:moveTo>
                  <a:cubicBezTo>
                    <a:pt x="101" y="245"/>
                    <a:pt x="101" y="244"/>
                    <a:pt x="100" y="240"/>
                  </a:cubicBezTo>
                  <a:cubicBezTo>
                    <a:pt x="102" y="240"/>
                    <a:pt x="105" y="240"/>
                    <a:pt x="108" y="240"/>
                  </a:cubicBezTo>
                  <a:cubicBezTo>
                    <a:pt x="104" y="227"/>
                    <a:pt x="95" y="244"/>
                    <a:pt x="91" y="246"/>
                  </a:cubicBezTo>
                  <a:cubicBezTo>
                    <a:pt x="97" y="245"/>
                    <a:pt x="98" y="242"/>
                    <a:pt x="98" y="247"/>
                  </a:cubicBezTo>
                  <a:close/>
                  <a:moveTo>
                    <a:pt x="173" y="238"/>
                  </a:moveTo>
                  <a:cubicBezTo>
                    <a:pt x="168" y="236"/>
                    <a:pt x="158" y="232"/>
                    <a:pt x="150" y="236"/>
                  </a:cubicBezTo>
                  <a:cubicBezTo>
                    <a:pt x="159" y="235"/>
                    <a:pt x="167" y="241"/>
                    <a:pt x="173" y="238"/>
                  </a:cubicBezTo>
                  <a:close/>
                  <a:moveTo>
                    <a:pt x="113" y="263"/>
                  </a:moveTo>
                  <a:cubicBezTo>
                    <a:pt x="123" y="261"/>
                    <a:pt x="125" y="256"/>
                    <a:pt x="131" y="251"/>
                  </a:cubicBezTo>
                  <a:cubicBezTo>
                    <a:pt x="130" y="255"/>
                    <a:pt x="133" y="256"/>
                    <a:pt x="133" y="259"/>
                  </a:cubicBezTo>
                  <a:cubicBezTo>
                    <a:pt x="145" y="257"/>
                    <a:pt x="157" y="257"/>
                    <a:pt x="159" y="246"/>
                  </a:cubicBezTo>
                  <a:cubicBezTo>
                    <a:pt x="164" y="250"/>
                    <a:pt x="170" y="251"/>
                    <a:pt x="175" y="249"/>
                  </a:cubicBezTo>
                  <a:cubicBezTo>
                    <a:pt x="155" y="237"/>
                    <a:pt x="118" y="236"/>
                    <a:pt x="113" y="263"/>
                  </a:cubicBezTo>
                  <a:close/>
                  <a:moveTo>
                    <a:pt x="100" y="264"/>
                  </a:moveTo>
                  <a:cubicBezTo>
                    <a:pt x="110" y="258"/>
                    <a:pt x="116" y="247"/>
                    <a:pt x="126" y="241"/>
                  </a:cubicBezTo>
                  <a:cubicBezTo>
                    <a:pt x="111" y="243"/>
                    <a:pt x="107" y="255"/>
                    <a:pt x="100" y="264"/>
                  </a:cubicBezTo>
                  <a:close/>
                  <a:moveTo>
                    <a:pt x="33" y="298"/>
                  </a:moveTo>
                  <a:cubicBezTo>
                    <a:pt x="33" y="293"/>
                    <a:pt x="36" y="284"/>
                    <a:pt x="31" y="281"/>
                  </a:cubicBezTo>
                  <a:cubicBezTo>
                    <a:pt x="33" y="287"/>
                    <a:pt x="26" y="295"/>
                    <a:pt x="33" y="298"/>
                  </a:cubicBezTo>
                  <a:close/>
                  <a:moveTo>
                    <a:pt x="0" y="313"/>
                  </a:moveTo>
                  <a:cubicBezTo>
                    <a:pt x="11" y="309"/>
                    <a:pt x="10" y="296"/>
                    <a:pt x="20" y="289"/>
                  </a:cubicBezTo>
                  <a:cubicBezTo>
                    <a:pt x="20" y="286"/>
                    <a:pt x="19" y="285"/>
                    <a:pt x="17" y="285"/>
                  </a:cubicBezTo>
                  <a:cubicBezTo>
                    <a:pt x="11" y="293"/>
                    <a:pt x="1" y="298"/>
                    <a:pt x="0" y="313"/>
                  </a:cubicBezTo>
                  <a:close/>
                  <a:moveTo>
                    <a:pt x="268" y="338"/>
                  </a:moveTo>
                  <a:cubicBezTo>
                    <a:pt x="268" y="337"/>
                    <a:pt x="268" y="335"/>
                    <a:pt x="269" y="335"/>
                  </a:cubicBezTo>
                  <a:cubicBezTo>
                    <a:pt x="284" y="340"/>
                    <a:pt x="285" y="318"/>
                    <a:pt x="278" y="313"/>
                  </a:cubicBezTo>
                  <a:cubicBezTo>
                    <a:pt x="262" y="320"/>
                    <a:pt x="264" y="304"/>
                    <a:pt x="260" y="296"/>
                  </a:cubicBezTo>
                  <a:cubicBezTo>
                    <a:pt x="259" y="301"/>
                    <a:pt x="262" y="303"/>
                    <a:pt x="255" y="303"/>
                  </a:cubicBezTo>
                  <a:cubicBezTo>
                    <a:pt x="253" y="318"/>
                    <a:pt x="236" y="324"/>
                    <a:pt x="224" y="320"/>
                  </a:cubicBezTo>
                  <a:cubicBezTo>
                    <a:pt x="213" y="321"/>
                    <a:pt x="202" y="318"/>
                    <a:pt x="198" y="332"/>
                  </a:cubicBezTo>
                  <a:cubicBezTo>
                    <a:pt x="197" y="331"/>
                    <a:pt x="196" y="329"/>
                    <a:pt x="194" y="329"/>
                  </a:cubicBezTo>
                  <a:cubicBezTo>
                    <a:pt x="192" y="338"/>
                    <a:pt x="199" y="339"/>
                    <a:pt x="204" y="341"/>
                  </a:cubicBezTo>
                  <a:cubicBezTo>
                    <a:pt x="202" y="349"/>
                    <a:pt x="195" y="353"/>
                    <a:pt x="193" y="361"/>
                  </a:cubicBezTo>
                  <a:cubicBezTo>
                    <a:pt x="195" y="361"/>
                    <a:pt x="194" y="365"/>
                    <a:pt x="197" y="365"/>
                  </a:cubicBezTo>
                  <a:cubicBezTo>
                    <a:pt x="195" y="359"/>
                    <a:pt x="202" y="357"/>
                    <a:pt x="201" y="360"/>
                  </a:cubicBezTo>
                  <a:cubicBezTo>
                    <a:pt x="202" y="357"/>
                    <a:pt x="198" y="350"/>
                    <a:pt x="203" y="356"/>
                  </a:cubicBezTo>
                  <a:cubicBezTo>
                    <a:pt x="205" y="354"/>
                    <a:pt x="204" y="348"/>
                    <a:pt x="208" y="348"/>
                  </a:cubicBezTo>
                  <a:cubicBezTo>
                    <a:pt x="209" y="354"/>
                    <a:pt x="204" y="356"/>
                    <a:pt x="208" y="361"/>
                  </a:cubicBezTo>
                  <a:cubicBezTo>
                    <a:pt x="210" y="360"/>
                    <a:pt x="209" y="356"/>
                    <a:pt x="212" y="357"/>
                  </a:cubicBezTo>
                  <a:cubicBezTo>
                    <a:pt x="212" y="358"/>
                    <a:pt x="207" y="362"/>
                    <a:pt x="211" y="363"/>
                  </a:cubicBezTo>
                  <a:cubicBezTo>
                    <a:pt x="216" y="358"/>
                    <a:pt x="210" y="365"/>
                    <a:pt x="212" y="366"/>
                  </a:cubicBezTo>
                  <a:cubicBezTo>
                    <a:pt x="213" y="363"/>
                    <a:pt x="216" y="363"/>
                    <a:pt x="217" y="361"/>
                  </a:cubicBezTo>
                  <a:cubicBezTo>
                    <a:pt x="214" y="366"/>
                    <a:pt x="219" y="363"/>
                    <a:pt x="221" y="366"/>
                  </a:cubicBezTo>
                  <a:cubicBezTo>
                    <a:pt x="218" y="367"/>
                    <a:pt x="217" y="365"/>
                    <a:pt x="216" y="369"/>
                  </a:cubicBezTo>
                  <a:cubicBezTo>
                    <a:pt x="214" y="367"/>
                    <a:pt x="209" y="367"/>
                    <a:pt x="208" y="372"/>
                  </a:cubicBezTo>
                  <a:cubicBezTo>
                    <a:pt x="213" y="374"/>
                    <a:pt x="209" y="368"/>
                    <a:pt x="212" y="369"/>
                  </a:cubicBezTo>
                  <a:cubicBezTo>
                    <a:pt x="215" y="375"/>
                    <a:pt x="227" y="375"/>
                    <a:pt x="232" y="369"/>
                  </a:cubicBezTo>
                  <a:cubicBezTo>
                    <a:pt x="235" y="376"/>
                    <a:pt x="248" y="369"/>
                    <a:pt x="250" y="363"/>
                  </a:cubicBezTo>
                  <a:cubicBezTo>
                    <a:pt x="244" y="363"/>
                    <a:pt x="244" y="360"/>
                    <a:pt x="246" y="354"/>
                  </a:cubicBezTo>
                  <a:cubicBezTo>
                    <a:pt x="241" y="355"/>
                    <a:pt x="243" y="354"/>
                    <a:pt x="243" y="350"/>
                  </a:cubicBezTo>
                  <a:cubicBezTo>
                    <a:pt x="240" y="348"/>
                    <a:pt x="239" y="350"/>
                    <a:pt x="237" y="345"/>
                  </a:cubicBezTo>
                  <a:cubicBezTo>
                    <a:pt x="235" y="344"/>
                    <a:pt x="230" y="350"/>
                    <a:pt x="228" y="347"/>
                  </a:cubicBezTo>
                  <a:cubicBezTo>
                    <a:pt x="229" y="345"/>
                    <a:pt x="229" y="341"/>
                    <a:pt x="232" y="340"/>
                  </a:cubicBezTo>
                  <a:cubicBezTo>
                    <a:pt x="235" y="344"/>
                    <a:pt x="240" y="339"/>
                    <a:pt x="250" y="341"/>
                  </a:cubicBezTo>
                  <a:cubicBezTo>
                    <a:pt x="246" y="347"/>
                    <a:pt x="258" y="347"/>
                    <a:pt x="257" y="354"/>
                  </a:cubicBezTo>
                  <a:cubicBezTo>
                    <a:pt x="255" y="357"/>
                    <a:pt x="254" y="362"/>
                    <a:pt x="251" y="365"/>
                  </a:cubicBezTo>
                  <a:cubicBezTo>
                    <a:pt x="257" y="365"/>
                    <a:pt x="250" y="367"/>
                    <a:pt x="251" y="370"/>
                  </a:cubicBezTo>
                  <a:cubicBezTo>
                    <a:pt x="261" y="369"/>
                    <a:pt x="263" y="365"/>
                    <a:pt x="269" y="358"/>
                  </a:cubicBezTo>
                  <a:cubicBezTo>
                    <a:pt x="268" y="357"/>
                    <a:pt x="266" y="356"/>
                    <a:pt x="265" y="354"/>
                  </a:cubicBezTo>
                  <a:cubicBezTo>
                    <a:pt x="269" y="355"/>
                    <a:pt x="264" y="348"/>
                    <a:pt x="268" y="349"/>
                  </a:cubicBezTo>
                  <a:cubicBezTo>
                    <a:pt x="268" y="351"/>
                    <a:pt x="270" y="350"/>
                    <a:pt x="270" y="352"/>
                  </a:cubicBezTo>
                  <a:cubicBezTo>
                    <a:pt x="271" y="354"/>
                    <a:pt x="269" y="355"/>
                    <a:pt x="269" y="357"/>
                  </a:cubicBezTo>
                  <a:cubicBezTo>
                    <a:pt x="278" y="353"/>
                    <a:pt x="266" y="346"/>
                    <a:pt x="265" y="340"/>
                  </a:cubicBezTo>
                  <a:cubicBezTo>
                    <a:pt x="265" y="342"/>
                    <a:pt x="264" y="343"/>
                    <a:pt x="261" y="343"/>
                  </a:cubicBezTo>
                  <a:cubicBezTo>
                    <a:pt x="261" y="345"/>
                    <a:pt x="262" y="348"/>
                    <a:pt x="260" y="348"/>
                  </a:cubicBezTo>
                  <a:cubicBezTo>
                    <a:pt x="261" y="343"/>
                    <a:pt x="253" y="341"/>
                    <a:pt x="256" y="339"/>
                  </a:cubicBezTo>
                  <a:cubicBezTo>
                    <a:pt x="260" y="343"/>
                    <a:pt x="263" y="333"/>
                    <a:pt x="268" y="338"/>
                  </a:cubicBezTo>
                  <a:close/>
                  <a:moveTo>
                    <a:pt x="52" y="340"/>
                  </a:moveTo>
                  <a:cubicBezTo>
                    <a:pt x="49" y="334"/>
                    <a:pt x="51" y="323"/>
                    <a:pt x="45" y="320"/>
                  </a:cubicBezTo>
                  <a:cubicBezTo>
                    <a:pt x="47" y="327"/>
                    <a:pt x="47" y="336"/>
                    <a:pt x="52" y="340"/>
                  </a:cubicBezTo>
                  <a:close/>
                  <a:moveTo>
                    <a:pt x="71" y="329"/>
                  </a:moveTo>
                  <a:cubicBezTo>
                    <a:pt x="76" y="340"/>
                    <a:pt x="79" y="350"/>
                    <a:pt x="82" y="362"/>
                  </a:cubicBezTo>
                  <a:cubicBezTo>
                    <a:pt x="85" y="350"/>
                    <a:pt x="77" y="334"/>
                    <a:pt x="77" y="326"/>
                  </a:cubicBezTo>
                  <a:cubicBezTo>
                    <a:pt x="76" y="328"/>
                    <a:pt x="74" y="329"/>
                    <a:pt x="71" y="329"/>
                  </a:cubicBezTo>
                  <a:close/>
                  <a:moveTo>
                    <a:pt x="67" y="353"/>
                  </a:moveTo>
                  <a:cubicBezTo>
                    <a:pt x="67" y="347"/>
                    <a:pt x="63" y="344"/>
                    <a:pt x="60" y="341"/>
                  </a:cubicBezTo>
                  <a:cubicBezTo>
                    <a:pt x="60" y="348"/>
                    <a:pt x="62" y="352"/>
                    <a:pt x="67" y="353"/>
                  </a:cubicBezTo>
                  <a:close/>
                  <a:moveTo>
                    <a:pt x="278" y="357"/>
                  </a:moveTo>
                  <a:cubicBezTo>
                    <a:pt x="279" y="355"/>
                    <a:pt x="286" y="359"/>
                    <a:pt x="288" y="360"/>
                  </a:cubicBezTo>
                  <a:cubicBezTo>
                    <a:pt x="285" y="354"/>
                    <a:pt x="277" y="352"/>
                    <a:pt x="274" y="347"/>
                  </a:cubicBezTo>
                  <a:cubicBezTo>
                    <a:pt x="271" y="350"/>
                    <a:pt x="278" y="352"/>
                    <a:pt x="278" y="357"/>
                  </a:cubicBezTo>
                  <a:close/>
                  <a:moveTo>
                    <a:pt x="141" y="398"/>
                  </a:moveTo>
                  <a:cubicBezTo>
                    <a:pt x="139" y="381"/>
                    <a:pt x="147" y="373"/>
                    <a:pt x="151" y="362"/>
                  </a:cubicBezTo>
                  <a:cubicBezTo>
                    <a:pt x="156" y="361"/>
                    <a:pt x="166" y="351"/>
                    <a:pt x="162" y="349"/>
                  </a:cubicBezTo>
                  <a:cubicBezTo>
                    <a:pt x="147" y="359"/>
                    <a:pt x="132" y="376"/>
                    <a:pt x="141" y="398"/>
                  </a:cubicBezTo>
                  <a:close/>
                  <a:moveTo>
                    <a:pt x="273" y="367"/>
                  </a:moveTo>
                  <a:cubicBezTo>
                    <a:pt x="270" y="368"/>
                    <a:pt x="271" y="358"/>
                    <a:pt x="269" y="362"/>
                  </a:cubicBezTo>
                  <a:cubicBezTo>
                    <a:pt x="270" y="365"/>
                    <a:pt x="270" y="369"/>
                    <a:pt x="273" y="370"/>
                  </a:cubicBezTo>
                  <a:cubicBezTo>
                    <a:pt x="275" y="366"/>
                    <a:pt x="281" y="365"/>
                    <a:pt x="283" y="361"/>
                  </a:cubicBezTo>
                  <a:cubicBezTo>
                    <a:pt x="281" y="360"/>
                    <a:pt x="280" y="358"/>
                    <a:pt x="277" y="358"/>
                  </a:cubicBezTo>
                  <a:cubicBezTo>
                    <a:pt x="279" y="363"/>
                    <a:pt x="275" y="364"/>
                    <a:pt x="273" y="367"/>
                  </a:cubicBezTo>
                  <a:close/>
                  <a:moveTo>
                    <a:pt x="34" y="420"/>
                  </a:moveTo>
                  <a:cubicBezTo>
                    <a:pt x="34" y="415"/>
                    <a:pt x="34" y="409"/>
                    <a:pt x="29" y="408"/>
                  </a:cubicBezTo>
                  <a:cubicBezTo>
                    <a:pt x="27" y="416"/>
                    <a:pt x="29" y="417"/>
                    <a:pt x="34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4" name="Freeform 450"/>
            <p:cNvSpPr>
              <a:spLocks noEditPoints="1"/>
            </p:cNvSpPr>
            <p:nvPr/>
          </p:nvSpPr>
          <p:spPr bwMode="auto">
            <a:xfrm>
              <a:off x="7010400" y="1212851"/>
              <a:ext cx="1716088" cy="1827213"/>
            </a:xfrm>
            <a:custGeom>
              <a:avLst/>
              <a:gdLst>
                <a:gd name="T0" fmla="*/ 124 w 605"/>
                <a:gd name="T1" fmla="*/ 508 h 645"/>
                <a:gd name="T2" fmla="*/ 119 w 605"/>
                <a:gd name="T3" fmla="*/ 463 h 645"/>
                <a:gd name="T4" fmla="*/ 87 w 605"/>
                <a:gd name="T5" fmla="*/ 418 h 645"/>
                <a:gd name="T6" fmla="*/ 156 w 605"/>
                <a:gd name="T7" fmla="*/ 427 h 645"/>
                <a:gd name="T8" fmla="*/ 193 w 605"/>
                <a:gd name="T9" fmla="*/ 467 h 645"/>
                <a:gd name="T10" fmla="*/ 221 w 605"/>
                <a:gd name="T11" fmla="*/ 418 h 645"/>
                <a:gd name="T12" fmla="*/ 252 w 605"/>
                <a:gd name="T13" fmla="*/ 407 h 645"/>
                <a:gd name="T14" fmla="*/ 341 w 605"/>
                <a:gd name="T15" fmla="*/ 409 h 645"/>
                <a:gd name="T16" fmla="*/ 359 w 605"/>
                <a:gd name="T17" fmla="*/ 392 h 645"/>
                <a:gd name="T18" fmla="*/ 396 w 605"/>
                <a:gd name="T19" fmla="*/ 401 h 645"/>
                <a:gd name="T20" fmla="*/ 398 w 605"/>
                <a:gd name="T21" fmla="*/ 452 h 645"/>
                <a:gd name="T22" fmla="*/ 414 w 605"/>
                <a:gd name="T23" fmla="*/ 436 h 645"/>
                <a:gd name="T24" fmla="*/ 421 w 605"/>
                <a:gd name="T25" fmla="*/ 260 h 645"/>
                <a:gd name="T26" fmla="*/ 398 w 605"/>
                <a:gd name="T27" fmla="*/ 251 h 645"/>
                <a:gd name="T28" fmla="*/ 355 w 605"/>
                <a:gd name="T29" fmla="*/ 109 h 645"/>
                <a:gd name="T30" fmla="*/ 240 w 605"/>
                <a:gd name="T31" fmla="*/ 91 h 645"/>
                <a:gd name="T32" fmla="*/ 158 w 605"/>
                <a:gd name="T33" fmla="*/ 124 h 645"/>
                <a:gd name="T34" fmla="*/ 127 w 605"/>
                <a:gd name="T35" fmla="*/ 266 h 645"/>
                <a:gd name="T36" fmla="*/ 111 w 605"/>
                <a:gd name="T37" fmla="*/ 341 h 645"/>
                <a:gd name="T38" fmla="*/ 89 w 605"/>
                <a:gd name="T39" fmla="*/ 342 h 645"/>
                <a:gd name="T40" fmla="*/ 102 w 605"/>
                <a:gd name="T41" fmla="*/ 252 h 645"/>
                <a:gd name="T42" fmla="*/ 87 w 605"/>
                <a:gd name="T43" fmla="*/ 238 h 645"/>
                <a:gd name="T44" fmla="*/ 213 w 605"/>
                <a:gd name="T45" fmla="*/ 73 h 645"/>
                <a:gd name="T46" fmla="*/ 224 w 605"/>
                <a:gd name="T47" fmla="*/ 38 h 645"/>
                <a:gd name="T48" fmla="*/ 332 w 605"/>
                <a:gd name="T49" fmla="*/ 17 h 645"/>
                <a:gd name="T50" fmla="*/ 438 w 605"/>
                <a:gd name="T51" fmla="*/ 104 h 645"/>
                <a:gd name="T52" fmla="*/ 482 w 605"/>
                <a:gd name="T53" fmla="*/ 180 h 645"/>
                <a:gd name="T54" fmla="*/ 481 w 605"/>
                <a:gd name="T55" fmla="*/ 401 h 645"/>
                <a:gd name="T56" fmla="*/ 476 w 605"/>
                <a:gd name="T57" fmla="*/ 452 h 645"/>
                <a:gd name="T58" fmla="*/ 443 w 605"/>
                <a:gd name="T59" fmla="*/ 514 h 645"/>
                <a:gd name="T60" fmla="*/ 383 w 605"/>
                <a:gd name="T61" fmla="*/ 645 h 645"/>
                <a:gd name="T62" fmla="*/ 0 w 605"/>
                <a:gd name="T63" fmla="*/ 570 h 645"/>
                <a:gd name="T64" fmla="*/ 271 w 605"/>
                <a:gd name="T65" fmla="*/ 42 h 645"/>
                <a:gd name="T66" fmla="*/ 297 w 605"/>
                <a:gd name="T67" fmla="*/ 88 h 645"/>
                <a:gd name="T68" fmla="*/ 293 w 605"/>
                <a:gd name="T69" fmla="*/ 44 h 645"/>
                <a:gd name="T70" fmla="*/ 187 w 605"/>
                <a:gd name="T71" fmla="*/ 68 h 645"/>
                <a:gd name="T72" fmla="*/ 186 w 605"/>
                <a:gd name="T73" fmla="*/ 78 h 645"/>
                <a:gd name="T74" fmla="*/ 144 w 605"/>
                <a:gd name="T75" fmla="*/ 87 h 645"/>
                <a:gd name="T76" fmla="*/ 465 w 605"/>
                <a:gd name="T77" fmla="*/ 216 h 645"/>
                <a:gd name="T78" fmla="*/ 476 w 605"/>
                <a:gd name="T79" fmla="*/ 239 h 645"/>
                <a:gd name="T80" fmla="*/ 442 w 605"/>
                <a:gd name="T81" fmla="*/ 245 h 645"/>
                <a:gd name="T82" fmla="*/ 463 w 605"/>
                <a:gd name="T83" fmla="*/ 414 h 645"/>
                <a:gd name="T84" fmla="*/ 319 w 605"/>
                <a:gd name="T85" fmla="*/ 423 h 645"/>
                <a:gd name="T86" fmla="*/ 259 w 605"/>
                <a:gd name="T87" fmla="*/ 434 h 645"/>
                <a:gd name="T88" fmla="*/ 257 w 605"/>
                <a:gd name="T89" fmla="*/ 468 h 645"/>
                <a:gd name="T90" fmla="*/ 273 w 605"/>
                <a:gd name="T91" fmla="*/ 490 h 645"/>
                <a:gd name="T92" fmla="*/ 277 w 605"/>
                <a:gd name="T93" fmla="*/ 501 h 645"/>
                <a:gd name="T94" fmla="*/ 302 w 605"/>
                <a:gd name="T95" fmla="*/ 502 h 645"/>
                <a:gd name="T96" fmla="*/ 335 w 605"/>
                <a:gd name="T97" fmla="*/ 494 h 645"/>
                <a:gd name="T98" fmla="*/ 355 w 605"/>
                <a:gd name="T99" fmla="*/ 490 h 645"/>
                <a:gd name="T100" fmla="*/ 375 w 605"/>
                <a:gd name="T101" fmla="*/ 471 h 645"/>
                <a:gd name="T102" fmla="*/ 363 w 605"/>
                <a:gd name="T103" fmla="*/ 454 h 645"/>
                <a:gd name="T104" fmla="*/ 323 w 605"/>
                <a:gd name="T105" fmla="*/ 472 h 645"/>
                <a:gd name="T106" fmla="*/ 277 w 605"/>
                <a:gd name="T107" fmla="*/ 476 h 645"/>
                <a:gd name="T108" fmla="*/ 281 w 605"/>
                <a:gd name="T109" fmla="*/ 468 h 645"/>
                <a:gd name="T110" fmla="*/ 300 w 605"/>
                <a:gd name="T111" fmla="*/ 454 h 645"/>
                <a:gd name="T112" fmla="*/ 352 w 605"/>
                <a:gd name="T113" fmla="*/ 450 h 645"/>
                <a:gd name="T114" fmla="*/ 379 w 605"/>
                <a:gd name="T115" fmla="*/ 430 h 645"/>
                <a:gd name="T116" fmla="*/ 160 w 605"/>
                <a:gd name="T117" fmla="*/ 444 h 645"/>
                <a:gd name="T118" fmla="*/ 306 w 605"/>
                <a:gd name="T119" fmla="*/ 470 h 645"/>
                <a:gd name="T120" fmla="*/ 293 w 605"/>
                <a:gd name="T121" fmla="*/ 517 h 645"/>
                <a:gd name="T122" fmla="*/ 35 w 605"/>
                <a:gd name="T123" fmla="*/ 63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5" h="645">
                  <a:moveTo>
                    <a:pt x="0" y="570"/>
                  </a:moveTo>
                  <a:cubicBezTo>
                    <a:pt x="36" y="564"/>
                    <a:pt x="61" y="547"/>
                    <a:pt x="93" y="537"/>
                  </a:cubicBezTo>
                  <a:cubicBezTo>
                    <a:pt x="94" y="530"/>
                    <a:pt x="90" y="528"/>
                    <a:pt x="89" y="524"/>
                  </a:cubicBezTo>
                  <a:cubicBezTo>
                    <a:pt x="94" y="525"/>
                    <a:pt x="95" y="528"/>
                    <a:pt x="94" y="534"/>
                  </a:cubicBezTo>
                  <a:cubicBezTo>
                    <a:pt x="105" y="535"/>
                    <a:pt x="104" y="528"/>
                    <a:pt x="114" y="532"/>
                  </a:cubicBezTo>
                  <a:cubicBezTo>
                    <a:pt x="116" y="524"/>
                    <a:pt x="127" y="524"/>
                    <a:pt x="128" y="515"/>
                  </a:cubicBezTo>
                  <a:cubicBezTo>
                    <a:pt x="118" y="513"/>
                    <a:pt x="106" y="498"/>
                    <a:pt x="114" y="486"/>
                  </a:cubicBezTo>
                  <a:cubicBezTo>
                    <a:pt x="114" y="497"/>
                    <a:pt x="114" y="507"/>
                    <a:pt x="124" y="508"/>
                  </a:cubicBezTo>
                  <a:cubicBezTo>
                    <a:pt x="127" y="500"/>
                    <a:pt x="122" y="494"/>
                    <a:pt x="128" y="489"/>
                  </a:cubicBezTo>
                  <a:cubicBezTo>
                    <a:pt x="131" y="490"/>
                    <a:pt x="127" y="497"/>
                    <a:pt x="132" y="495"/>
                  </a:cubicBezTo>
                  <a:cubicBezTo>
                    <a:pt x="134" y="498"/>
                    <a:pt x="134" y="495"/>
                    <a:pt x="137" y="495"/>
                  </a:cubicBezTo>
                  <a:cubicBezTo>
                    <a:pt x="139" y="492"/>
                    <a:pt x="138" y="487"/>
                    <a:pt x="138" y="481"/>
                  </a:cubicBezTo>
                  <a:cubicBezTo>
                    <a:pt x="128" y="481"/>
                    <a:pt x="132" y="468"/>
                    <a:pt x="124" y="466"/>
                  </a:cubicBezTo>
                  <a:cubicBezTo>
                    <a:pt x="124" y="468"/>
                    <a:pt x="126" y="469"/>
                    <a:pt x="124" y="470"/>
                  </a:cubicBezTo>
                  <a:cubicBezTo>
                    <a:pt x="119" y="467"/>
                    <a:pt x="124" y="463"/>
                    <a:pt x="124" y="458"/>
                  </a:cubicBezTo>
                  <a:cubicBezTo>
                    <a:pt x="119" y="457"/>
                    <a:pt x="123" y="464"/>
                    <a:pt x="119" y="463"/>
                  </a:cubicBezTo>
                  <a:cubicBezTo>
                    <a:pt x="120" y="457"/>
                    <a:pt x="118" y="454"/>
                    <a:pt x="116" y="450"/>
                  </a:cubicBezTo>
                  <a:cubicBezTo>
                    <a:pt x="114" y="450"/>
                    <a:pt x="114" y="452"/>
                    <a:pt x="112" y="453"/>
                  </a:cubicBezTo>
                  <a:cubicBezTo>
                    <a:pt x="112" y="446"/>
                    <a:pt x="103" y="448"/>
                    <a:pt x="103" y="440"/>
                  </a:cubicBezTo>
                  <a:cubicBezTo>
                    <a:pt x="105" y="442"/>
                    <a:pt x="110" y="442"/>
                    <a:pt x="110" y="439"/>
                  </a:cubicBezTo>
                  <a:cubicBezTo>
                    <a:pt x="105" y="437"/>
                    <a:pt x="99" y="437"/>
                    <a:pt x="98" y="431"/>
                  </a:cubicBezTo>
                  <a:cubicBezTo>
                    <a:pt x="100" y="431"/>
                    <a:pt x="102" y="431"/>
                    <a:pt x="103" y="431"/>
                  </a:cubicBezTo>
                  <a:cubicBezTo>
                    <a:pt x="103" y="427"/>
                    <a:pt x="100" y="424"/>
                    <a:pt x="100" y="419"/>
                  </a:cubicBezTo>
                  <a:cubicBezTo>
                    <a:pt x="93" y="419"/>
                    <a:pt x="89" y="422"/>
                    <a:pt x="87" y="418"/>
                  </a:cubicBezTo>
                  <a:cubicBezTo>
                    <a:pt x="101" y="412"/>
                    <a:pt x="110" y="400"/>
                    <a:pt x="116" y="386"/>
                  </a:cubicBezTo>
                  <a:cubicBezTo>
                    <a:pt x="112" y="385"/>
                    <a:pt x="114" y="392"/>
                    <a:pt x="110" y="389"/>
                  </a:cubicBezTo>
                  <a:cubicBezTo>
                    <a:pt x="113" y="386"/>
                    <a:pt x="111" y="378"/>
                    <a:pt x="115" y="376"/>
                  </a:cubicBezTo>
                  <a:cubicBezTo>
                    <a:pt x="118" y="377"/>
                    <a:pt x="115" y="384"/>
                    <a:pt x="118" y="385"/>
                  </a:cubicBezTo>
                  <a:cubicBezTo>
                    <a:pt x="120" y="384"/>
                    <a:pt x="117" y="378"/>
                    <a:pt x="122" y="379"/>
                  </a:cubicBezTo>
                  <a:cubicBezTo>
                    <a:pt x="131" y="390"/>
                    <a:pt x="125" y="409"/>
                    <a:pt x="129" y="423"/>
                  </a:cubicBezTo>
                  <a:cubicBezTo>
                    <a:pt x="140" y="425"/>
                    <a:pt x="147" y="422"/>
                    <a:pt x="150" y="416"/>
                  </a:cubicBezTo>
                  <a:cubicBezTo>
                    <a:pt x="153" y="419"/>
                    <a:pt x="152" y="426"/>
                    <a:pt x="156" y="427"/>
                  </a:cubicBezTo>
                  <a:cubicBezTo>
                    <a:pt x="153" y="418"/>
                    <a:pt x="155" y="412"/>
                    <a:pt x="150" y="405"/>
                  </a:cubicBezTo>
                  <a:cubicBezTo>
                    <a:pt x="153" y="406"/>
                    <a:pt x="153" y="404"/>
                    <a:pt x="154" y="403"/>
                  </a:cubicBezTo>
                  <a:cubicBezTo>
                    <a:pt x="157" y="412"/>
                    <a:pt x="161" y="417"/>
                    <a:pt x="167" y="428"/>
                  </a:cubicBezTo>
                  <a:cubicBezTo>
                    <a:pt x="168" y="426"/>
                    <a:pt x="163" y="423"/>
                    <a:pt x="167" y="422"/>
                  </a:cubicBezTo>
                  <a:cubicBezTo>
                    <a:pt x="169" y="428"/>
                    <a:pt x="174" y="431"/>
                    <a:pt x="173" y="440"/>
                  </a:cubicBezTo>
                  <a:cubicBezTo>
                    <a:pt x="182" y="440"/>
                    <a:pt x="177" y="453"/>
                    <a:pt x="185" y="453"/>
                  </a:cubicBezTo>
                  <a:cubicBezTo>
                    <a:pt x="185" y="451"/>
                    <a:pt x="181" y="447"/>
                    <a:pt x="185" y="445"/>
                  </a:cubicBezTo>
                  <a:cubicBezTo>
                    <a:pt x="188" y="452"/>
                    <a:pt x="190" y="457"/>
                    <a:pt x="193" y="467"/>
                  </a:cubicBezTo>
                  <a:cubicBezTo>
                    <a:pt x="195" y="467"/>
                    <a:pt x="195" y="466"/>
                    <a:pt x="198" y="466"/>
                  </a:cubicBezTo>
                  <a:cubicBezTo>
                    <a:pt x="202" y="478"/>
                    <a:pt x="213" y="487"/>
                    <a:pt x="216" y="497"/>
                  </a:cubicBezTo>
                  <a:cubicBezTo>
                    <a:pt x="223" y="496"/>
                    <a:pt x="228" y="504"/>
                    <a:pt x="230" y="501"/>
                  </a:cubicBezTo>
                  <a:cubicBezTo>
                    <a:pt x="231" y="492"/>
                    <a:pt x="216" y="485"/>
                    <a:pt x="216" y="471"/>
                  </a:cubicBezTo>
                  <a:cubicBezTo>
                    <a:pt x="221" y="470"/>
                    <a:pt x="221" y="470"/>
                    <a:pt x="228" y="470"/>
                  </a:cubicBezTo>
                  <a:cubicBezTo>
                    <a:pt x="224" y="462"/>
                    <a:pt x="233" y="468"/>
                    <a:pt x="230" y="458"/>
                  </a:cubicBezTo>
                  <a:cubicBezTo>
                    <a:pt x="228" y="457"/>
                    <a:pt x="226" y="462"/>
                    <a:pt x="225" y="458"/>
                  </a:cubicBezTo>
                  <a:cubicBezTo>
                    <a:pt x="228" y="442"/>
                    <a:pt x="225" y="426"/>
                    <a:pt x="221" y="418"/>
                  </a:cubicBezTo>
                  <a:cubicBezTo>
                    <a:pt x="220" y="420"/>
                    <a:pt x="223" y="422"/>
                    <a:pt x="218" y="425"/>
                  </a:cubicBezTo>
                  <a:cubicBezTo>
                    <a:pt x="219" y="420"/>
                    <a:pt x="218" y="419"/>
                    <a:pt x="217" y="416"/>
                  </a:cubicBezTo>
                  <a:cubicBezTo>
                    <a:pt x="220" y="413"/>
                    <a:pt x="234" y="412"/>
                    <a:pt x="228" y="408"/>
                  </a:cubicBezTo>
                  <a:cubicBezTo>
                    <a:pt x="236" y="408"/>
                    <a:pt x="237" y="401"/>
                    <a:pt x="246" y="401"/>
                  </a:cubicBezTo>
                  <a:cubicBezTo>
                    <a:pt x="247" y="407"/>
                    <a:pt x="236" y="409"/>
                    <a:pt x="239" y="413"/>
                  </a:cubicBezTo>
                  <a:cubicBezTo>
                    <a:pt x="243" y="411"/>
                    <a:pt x="246" y="405"/>
                    <a:pt x="248" y="412"/>
                  </a:cubicBezTo>
                  <a:cubicBezTo>
                    <a:pt x="249" y="406"/>
                    <a:pt x="249" y="408"/>
                    <a:pt x="246" y="405"/>
                  </a:cubicBezTo>
                  <a:cubicBezTo>
                    <a:pt x="249" y="405"/>
                    <a:pt x="251" y="405"/>
                    <a:pt x="252" y="407"/>
                  </a:cubicBezTo>
                  <a:cubicBezTo>
                    <a:pt x="253" y="401"/>
                    <a:pt x="256" y="397"/>
                    <a:pt x="259" y="394"/>
                  </a:cubicBezTo>
                  <a:cubicBezTo>
                    <a:pt x="263" y="398"/>
                    <a:pt x="249" y="404"/>
                    <a:pt x="257" y="409"/>
                  </a:cubicBezTo>
                  <a:cubicBezTo>
                    <a:pt x="254" y="409"/>
                    <a:pt x="252" y="409"/>
                    <a:pt x="252" y="412"/>
                  </a:cubicBezTo>
                  <a:cubicBezTo>
                    <a:pt x="259" y="418"/>
                    <a:pt x="268" y="409"/>
                    <a:pt x="278" y="409"/>
                  </a:cubicBezTo>
                  <a:cubicBezTo>
                    <a:pt x="278" y="411"/>
                    <a:pt x="278" y="413"/>
                    <a:pt x="279" y="414"/>
                  </a:cubicBezTo>
                  <a:cubicBezTo>
                    <a:pt x="297" y="412"/>
                    <a:pt x="308" y="413"/>
                    <a:pt x="324" y="409"/>
                  </a:cubicBezTo>
                  <a:cubicBezTo>
                    <a:pt x="323" y="415"/>
                    <a:pt x="339" y="409"/>
                    <a:pt x="340" y="405"/>
                  </a:cubicBezTo>
                  <a:cubicBezTo>
                    <a:pt x="343" y="407"/>
                    <a:pt x="338" y="408"/>
                    <a:pt x="341" y="409"/>
                  </a:cubicBezTo>
                  <a:cubicBezTo>
                    <a:pt x="343" y="405"/>
                    <a:pt x="352" y="408"/>
                    <a:pt x="355" y="405"/>
                  </a:cubicBezTo>
                  <a:cubicBezTo>
                    <a:pt x="353" y="399"/>
                    <a:pt x="348" y="396"/>
                    <a:pt x="354" y="390"/>
                  </a:cubicBezTo>
                  <a:cubicBezTo>
                    <a:pt x="358" y="394"/>
                    <a:pt x="358" y="398"/>
                    <a:pt x="357" y="407"/>
                  </a:cubicBezTo>
                  <a:cubicBezTo>
                    <a:pt x="364" y="407"/>
                    <a:pt x="363" y="407"/>
                    <a:pt x="368" y="407"/>
                  </a:cubicBezTo>
                  <a:cubicBezTo>
                    <a:pt x="368" y="398"/>
                    <a:pt x="362" y="408"/>
                    <a:pt x="361" y="404"/>
                  </a:cubicBezTo>
                  <a:cubicBezTo>
                    <a:pt x="365" y="399"/>
                    <a:pt x="366" y="396"/>
                    <a:pt x="371" y="398"/>
                  </a:cubicBezTo>
                  <a:cubicBezTo>
                    <a:pt x="367" y="395"/>
                    <a:pt x="363" y="391"/>
                    <a:pt x="361" y="387"/>
                  </a:cubicBezTo>
                  <a:cubicBezTo>
                    <a:pt x="360" y="389"/>
                    <a:pt x="361" y="392"/>
                    <a:pt x="359" y="392"/>
                  </a:cubicBezTo>
                  <a:cubicBezTo>
                    <a:pt x="359" y="388"/>
                    <a:pt x="357" y="386"/>
                    <a:pt x="361" y="383"/>
                  </a:cubicBezTo>
                  <a:cubicBezTo>
                    <a:pt x="367" y="387"/>
                    <a:pt x="376" y="404"/>
                    <a:pt x="380" y="394"/>
                  </a:cubicBezTo>
                  <a:cubicBezTo>
                    <a:pt x="383" y="394"/>
                    <a:pt x="383" y="399"/>
                    <a:pt x="388" y="398"/>
                  </a:cubicBezTo>
                  <a:cubicBezTo>
                    <a:pt x="390" y="394"/>
                    <a:pt x="383" y="393"/>
                    <a:pt x="387" y="392"/>
                  </a:cubicBezTo>
                  <a:cubicBezTo>
                    <a:pt x="389" y="393"/>
                    <a:pt x="388" y="397"/>
                    <a:pt x="392" y="396"/>
                  </a:cubicBezTo>
                  <a:cubicBezTo>
                    <a:pt x="394" y="395"/>
                    <a:pt x="387" y="391"/>
                    <a:pt x="394" y="391"/>
                  </a:cubicBezTo>
                  <a:cubicBezTo>
                    <a:pt x="396" y="397"/>
                    <a:pt x="391" y="396"/>
                    <a:pt x="390" y="400"/>
                  </a:cubicBezTo>
                  <a:cubicBezTo>
                    <a:pt x="392" y="403"/>
                    <a:pt x="394" y="398"/>
                    <a:pt x="396" y="401"/>
                  </a:cubicBezTo>
                  <a:cubicBezTo>
                    <a:pt x="393" y="403"/>
                    <a:pt x="390" y="405"/>
                    <a:pt x="388" y="407"/>
                  </a:cubicBezTo>
                  <a:cubicBezTo>
                    <a:pt x="389" y="409"/>
                    <a:pt x="388" y="411"/>
                    <a:pt x="390" y="414"/>
                  </a:cubicBezTo>
                  <a:cubicBezTo>
                    <a:pt x="389" y="414"/>
                    <a:pt x="387" y="412"/>
                    <a:pt x="387" y="414"/>
                  </a:cubicBezTo>
                  <a:cubicBezTo>
                    <a:pt x="395" y="419"/>
                    <a:pt x="387" y="427"/>
                    <a:pt x="392" y="435"/>
                  </a:cubicBezTo>
                  <a:cubicBezTo>
                    <a:pt x="390" y="436"/>
                    <a:pt x="385" y="433"/>
                    <a:pt x="385" y="436"/>
                  </a:cubicBezTo>
                  <a:cubicBezTo>
                    <a:pt x="388" y="436"/>
                    <a:pt x="388" y="437"/>
                    <a:pt x="388" y="440"/>
                  </a:cubicBezTo>
                  <a:cubicBezTo>
                    <a:pt x="385" y="441"/>
                    <a:pt x="383" y="436"/>
                    <a:pt x="383" y="440"/>
                  </a:cubicBezTo>
                  <a:cubicBezTo>
                    <a:pt x="389" y="443"/>
                    <a:pt x="394" y="447"/>
                    <a:pt x="398" y="452"/>
                  </a:cubicBezTo>
                  <a:cubicBezTo>
                    <a:pt x="396" y="451"/>
                    <a:pt x="393" y="450"/>
                    <a:pt x="392" y="448"/>
                  </a:cubicBezTo>
                  <a:cubicBezTo>
                    <a:pt x="391" y="454"/>
                    <a:pt x="387" y="450"/>
                    <a:pt x="383" y="449"/>
                  </a:cubicBezTo>
                  <a:cubicBezTo>
                    <a:pt x="382" y="453"/>
                    <a:pt x="379" y="455"/>
                    <a:pt x="381" y="459"/>
                  </a:cubicBezTo>
                  <a:cubicBezTo>
                    <a:pt x="388" y="457"/>
                    <a:pt x="387" y="455"/>
                    <a:pt x="394" y="456"/>
                  </a:cubicBezTo>
                  <a:cubicBezTo>
                    <a:pt x="395" y="458"/>
                    <a:pt x="392" y="464"/>
                    <a:pt x="397" y="463"/>
                  </a:cubicBezTo>
                  <a:cubicBezTo>
                    <a:pt x="399" y="455"/>
                    <a:pt x="403" y="450"/>
                    <a:pt x="399" y="443"/>
                  </a:cubicBezTo>
                  <a:cubicBezTo>
                    <a:pt x="411" y="437"/>
                    <a:pt x="407" y="415"/>
                    <a:pt x="407" y="404"/>
                  </a:cubicBezTo>
                  <a:cubicBezTo>
                    <a:pt x="411" y="413"/>
                    <a:pt x="408" y="426"/>
                    <a:pt x="414" y="436"/>
                  </a:cubicBezTo>
                  <a:cubicBezTo>
                    <a:pt x="422" y="410"/>
                    <a:pt x="412" y="392"/>
                    <a:pt x="414" y="367"/>
                  </a:cubicBezTo>
                  <a:cubicBezTo>
                    <a:pt x="415" y="366"/>
                    <a:pt x="416" y="365"/>
                    <a:pt x="418" y="367"/>
                  </a:cubicBezTo>
                  <a:cubicBezTo>
                    <a:pt x="420" y="351"/>
                    <a:pt x="436" y="333"/>
                    <a:pt x="432" y="310"/>
                  </a:cubicBezTo>
                  <a:cubicBezTo>
                    <a:pt x="436" y="314"/>
                    <a:pt x="434" y="310"/>
                    <a:pt x="440" y="310"/>
                  </a:cubicBezTo>
                  <a:cubicBezTo>
                    <a:pt x="435" y="306"/>
                    <a:pt x="441" y="303"/>
                    <a:pt x="441" y="300"/>
                  </a:cubicBezTo>
                  <a:cubicBezTo>
                    <a:pt x="441" y="300"/>
                    <a:pt x="436" y="297"/>
                    <a:pt x="437" y="298"/>
                  </a:cubicBezTo>
                  <a:cubicBezTo>
                    <a:pt x="434" y="292"/>
                    <a:pt x="436" y="272"/>
                    <a:pt x="425" y="267"/>
                  </a:cubicBezTo>
                  <a:cubicBezTo>
                    <a:pt x="427" y="262"/>
                    <a:pt x="422" y="263"/>
                    <a:pt x="421" y="260"/>
                  </a:cubicBezTo>
                  <a:cubicBezTo>
                    <a:pt x="413" y="259"/>
                    <a:pt x="411" y="264"/>
                    <a:pt x="403" y="261"/>
                  </a:cubicBezTo>
                  <a:cubicBezTo>
                    <a:pt x="402" y="267"/>
                    <a:pt x="399" y="272"/>
                    <a:pt x="393" y="273"/>
                  </a:cubicBezTo>
                  <a:cubicBezTo>
                    <a:pt x="394" y="268"/>
                    <a:pt x="393" y="270"/>
                    <a:pt x="393" y="265"/>
                  </a:cubicBezTo>
                  <a:cubicBezTo>
                    <a:pt x="389" y="263"/>
                    <a:pt x="384" y="266"/>
                    <a:pt x="381" y="261"/>
                  </a:cubicBezTo>
                  <a:cubicBezTo>
                    <a:pt x="380" y="270"/>
                    <a:pt x="366" y="267"/>
                    <a:pt x="357" y="267"/>
                  </a:cubicBezTo>
                  <a:cubicBezTo>
                    <a:pt x="356" y="265"/>
                    <a:pt x="354" y="264"/>
                    <a:pt x="354" y="260"/>
                  </a:cubicBezTo>
                  <a:cubicBezTo>
                    <a:pt x="348" y="260"/>
                    <a:pt x="349" y="267"/>
                    <a:pt x="343" y="266"/>
                  </a:cubicBezTo>
                  <a:cubicBezTo>
                    <a:pt x="351" y="250"/>
                    <a:pt x="374" y="247"/>
                    <a:pt x="398" y="251"/>
                  </a:cubicBezTo>
                  <a:cubicBezTo>
                    <a:pt x="395" y="239"/>
                    <a:pt x="402" y="234"/>
                    <a:pt x="398" y="226"/>
                  </a:cubicBezTo>
                  <a:cubicBezTo>
                    <a:pt x="394" y="226"/>
                    <a:pt x="387" y="230"/>
                    <a:pt x="387" y="229"/>
                  </a:cubicBezTo>
                  <a:cubicBezTo>
                    <a:pt x="389" y="228"/>
                    <a:pt x="387" y="226"/>
                    <a:pt x="387" y="225"/>
                  </a:cubicBezTo>
                  <a:cubicBezTo>
                    <a:pt x="396" y="224"/>
                    <a:pt x="400" y="218"/>
                    <a:pt x="406" y="213"/>
                  </a:cubicBezTo>
                  <a:cubicBezTo>
                    <a:pt x="402" y="204"/>
                    <a:pt x="402" y="189"/>
                    <a:pt x="396" y="182"/>
                  </a:cubicBezTo>
                  <a:cubicBezTo>
                    <a:pt x="397" y="179"/>
                    <a:pt x="399" y="178"/>
                    <a:pt x="398" y="173"/>
                  </a:cubicBezTo>
                  <a:cubicBezTo>
                    <a:pt x="392" y="163"/>
                    <a:pt x="392" y="147"/>
                    <a:pt x="387" y="136"/>
                  </a:cubicBezTo>
                  <a:cubicBezTo>
                    <a:pt x="374" y="129"/>
                    <a:pt x="367" y="119"/>
                    <a:pt x="355" y="109"/>
                  </a:cubicBezTo>
                  <a:cubicBezTo>
                    <a:pt x="355" y="110"/>
                    <a:pt x="356" y="112"/>
                    <a:pt x="354" y="113"/>
                  </a:cubicBezTo>
                  <a:cubicBezTo>
                    <a:pt x="344" y="101"/>
                    <a:pt x="318" y="99"/>
                    <a:pt x="305" y="105"/>
                  </a:cubicBezTo>
                  <a:cubicBezTo>
                    <a:pt x="304" y="102"/>
                    <a:pt x="301" y="102"/>
                    <a:pt x="300" y="100"/>
                  </a:cubicBezTo>
                  <a:cubicBezTo>
                    <a:pt x="297" y="104"/>
                    <a:pt x="294" y="99"/>
                    <a:pt x="288" y="98"/>
                  </a:cubicBezTo>
                  <a:cubicBezTo>
                    <a:pt x="274" y="110"/>
                    <a:pt x="260" y="97"/>
                    <a:pt x="249" y="97"/>
                  </a:cubicBezTo>
                  <a:cubicBezTo>
                    <a:pt x="250" y="96"/>
                    <a:pt x="252" y="94"/>
                    <a:pt x="249" y="93"/>
                  </a:cubicBezTo>
                  <a:cubicBezTo>
                    <a:pt x="248" y="96"/>
                    <a:pt x="244" y="96"/>
                    <a:pt x="242" y="98"/>
                  </a:cubicBezTo>
                  <a:cubicBezTo>
                    <a:pt x="241" y="96"/>
                    <a:pt x="243" y="91"/>
                    <a:pt x="240" y="91"/>
                  </a:cubicBezTo>
                  <a:cubicBezTo>
                    <a:pt x="237" y="93"/>
                    <a:pt x="238" y="99"/>
                    <a:pt x="234" y="101"/>
                  </a:cubicBezTo>
                  <a:cubicBezTo>
                    <a:pt x="232" y="101"/>
                    <a:pt x="233" y="99"/>
                    <a:pt x="231" y="98"/>
                  </a:cubicBezTo>
                  <a:cubicBezTo>
                    <a:pt x="228" y="106"/>
                    <a:pt x="226" y="100"/>
                    <a:pt x="218" y="104"/>
                  </a:cubicBezTo>
                  <a:cubicBezTo>
                    <a:pt x="218" y="102"/>
                    <a:pt x="223" y="99"/>
                    <a:pt x="220" y="98"/>
                  </a:cubicBezTo>
                  <a:cubicBezTo>
                    <a:pt x="217" y="100"/>
                    <a:pt x="218" y="105"/>
                    <a:pt x="215" y="106"/>
                  </a:cubicBezTo>
                  <a:cubicBezTo>
                    <a:pt x="210" y="104"/>
                    <a:pt x="196" y="114"/>
                    <a:pt x="184" y="113"/>
                  </a:cubicBezTo>
                  <a:cubicBezTo>
                    <a:pt x="180" y="115"/>
                    <a:pt x="180" y="115"/>
                    <a:pt x="180" y="117"/>
                  </a:cubicBezTo>
                  <a:cubicBezTo>
                    <a:pt x="174" y="116"/>
                    <a:pt x="165" y="119"/>
                    <a:pt x="158" y="124"/>
                  </a:cubicBezTo>
                  <a:cubicBezTo>
                    <a:pt x="159" y="125"/>
                    <a:pt x="160" y="124"/>
                    <a:pt x="160" y="126"/>
                  </a:cubicBezTo>
                  <a:cubicBezTo>
                    <a:pt x="143" y="139"/>
                    <a:pt x="135" y="168"/>
                    <a:pt x="137" y="190"/>
                  </a:cubicBezTo>
                  <a:cubicBezTo>
                    <a:pt x="125" y="204"/>
                    <a:pt x="136" y="229"/>
                    <a:pt x="133" y="238"/>
                  </a:cubicBezTo>
                  <a:cubicBezTo>
                    <a:pt x="139" y="235"/>
                    <a:pt x="139" y="253"/>
                    <a:pt x="136" y="248"/>
                  </a:cubicBezTo>
                  <a:cubicBezTo>
                    <a:pt x="136" y="253"/>
                    <a:pt x="141" y="254"/>
                    <a:pt x="142" y="258"/>
                  </a:cubicBezTo>
                  <a:cubicBezTo>
                    <a:pt x="132" y="263"/>
                    <a:pt x="143" y="281"/>
                    <a:pt x="134" y="285"/>
                  </a:cubicBezTo>
                  <a:cubicBezTo>
                    <a:pt x="128" y="281"/>
                    <a:pt x="133" y="277"/>
                    <a:pt x="136" y="271"/>
                  </a:cubicBezTo>
                  <a:cubicBezTo>
                    <a:pt x="131" y="271"/>
                    <a:pt x="128" y="270"/>
                    <a:pt x="127" y="266"/>
                  </a:cubicBezTo>
                  <a:cubicBezTo>
                    <a:pt x="124" y="268"/>
                    <a:pt x="115" y="270"/>
                    <a:pt x="118" y="274"/>
                  </a:cubicBezTo>
                  <a:cubicBezTo>
                    <a:pt x="118" y="272"/>
                    <a:pt x="120" y="271"/>
                    <a:pt x="120" y="273"/>
                  </a:cubicBezTo>
                  <a:cubicBezTo>
                    <a:pt x="117" y="277"/>
                    <a:pt x="115" y="279"/>
                    <a:pt x="111" y="288"/>
                  </a:cubicBezTo>
                  <a:cubicBezTo>
                    <a:pt x="115" y="290"/>
                    <a:pt x="115" y="281"/>
                    <a:pt x="118" y="285"/>
                  </a:cubicBezTo>
                  <a:cubicBezTo>
                    <a:pt x="118" y="287"/>
                    <a:pt x="114" y="286"/>
                    <a:pt x="115" y="289"/>
                  </a:cubicBezTo>
                  <a:cubicBezTo>
                    <a:pt x="123" y="300"/>
                    <a:pt x="118" y="329"/>
                    <a:pt x="107" y="340"/>
                  </a:cubicBezTo>
                  <a:cubicBezTo>
                    <a:pt x="113" y="340"/>
                    <a:pt x="113" y="335"/>
                    <a:pt x="116" y="333"/>
                  </a:cubicBezTo>
                  <a:cubicBezTo>
                    <a:pt x="117" y="340"/>
                    <a:pt x="113" y="350"/>
                    <a:pt x="111" y="341"/>
                  </a:cubicBezTo>
                  <a:cubicBezTo>
                    <a:pt x="110" y="350"/>
                    <a:pt x="111" y="359"/>
                    <a:pt x="112" y="369"/>
                  </a:cubicBezTo>
                  <a:cubicBezTo>
                    <a:pt x="107" y="367"/>
                    <a:pt x="108" y="357"/>
                    <a:pt x="105" y="352"/>
                  </a:cubicBezTo>
                  <a:cubicBezTo>
                    <a:pt x="103" y="358"/>
                    <a:pt x="99" y="351"/>
                    <a:pt x="94" y="352"/>
                  </a:cubicBezTo>
                  <a:cubicBezTo>
                    <a:pt x="94" y="355"/>
                    <a:pt x="94" y="358"/>
                    <a:pt x="94" y="361"/>
                  </a:cubicBezTo>
                  <a:cubicBezTo>
                    <a:pt x="90" y="358"/>
                    <a:pt x="86" y="354"/>
                    <a:pt x="81" y="351"/>
                  </a:cubicBezTo>
                  <a:cubicBezTo>
                    <a:pt x="81" y="342"/>
                    <a:pt x="85" y="338"/>
                    <a:pt x="88" y="332"/>
                  </a:cubicBezTo>
                  <a:cubicBezTo>
                    <a:pt x="91" y="335"/>
                    <a:pt x="92" y="331"/>
                    <a:pt x="96" y="331"/>
                  </a:cubicBezTo>
                  <a:cubicBezTo>
                    <a:pt x="95" y="336"/>
                    <a:pt x="93" y="340"/>
                    <a:pt x="89" y="342"/>
                  </a:cubicBezTo>
                  <a:cubicBezTo>
                    <a:pt x="96" y="341"/>
                    <a:pt x="98" y="332"/>
                    <a:pt x="102" y="340"/>
                  </a:cubicBezTo>
                  <a:cubicBezTo>
                    <a:pt x="105" y="328"/>
                    <a:pt x="102" y="295"/>
                    <a:pt x="106" y="282"/>
                  </a:cubicBezTo>
                  <a:cubicBezTo>
                    <a:pt x="112" y="281"/>
                    <a:pt x="112" y="275"/>
                    <a:pt x="114" y="271"/>
                  </a:cubicBezTo>
                  <a:cubicBezTo>
                    <a:pt x="106" y="274"/>
                    <a:pt x="113" y="262"/>
                    <a:pt x="109" y="261"/>
                  </a:cubicBezTo>
                  <a:cubicBezTo>
                    <a:pt x="105" y="268"/>
                    <a:pt x="103" y="277"/>
                    <a:pt x="100" y="285"/>
                  </a:cubicBezTo>
                  <a:cubicBezTo>
                    <a:pt x="95" y="270"/>
                    <a:pt x="112" y="258"/>
                    <a:pt x="110" y="245"/>
                  </a:cubicBezTo>
                  <a:cubicBezTo>
                    <a:pt x="104" y="249"/>
                    <a:pt x="109" y="256"/>
                    <a:pt x="103" y="260"/>
                  </a:cubicBezTo>
                  <a:cubicBezTo>
                    <a:pt x="106" y="255"/>
                    <a:pt x="103" y="256"/>
                    <a:pt x="102" y="252"/>
                  </a:cubicBezTo>
                  <a:cubicBezTo>
                    <a:pt x="108" y="240"/>
                    <a:pt x="104" y="228"/>
                    <a:pt x="105" y="213"/>
                  </a:cubicBezTo>
                  <a:cubicBezTo>
                    <a:pt x="90" y="238"/>
                    <a:pt x="92" y="275"/>
                    <a:pt x="80" y="303"/>
                  </a:cubicBezTo>
                  <a:cubicBezTo>
                    <a:pt x="80" y="302"/>
                    <a:pt x="82" y="301"/>
                    <a:pt x="80" y="301"/>
                  </a:cubicBezTo>
                  <a:cubicBezTo>
                    <a:pt x="78" y="307"/>
                    <a:pt x="76" y="320"/>
                    <a:pt x="71" y="319"/>
                  </a:cubicBezTo>
                  <a:cubicBezTo>
                    <a:pt x="74" y="315"/>
                    <a:pt x="78" y="307"/>
                    <a:pt x="74" y="302"/>
                  </a:cubicBezTo>
                  <a:cubicBezTo>
                    <a:pt x="73" y="309"/>
                    <a:pt x="69" y="313"/>
                    <a:pt x="65" y="316"/>
                  </a:cubicBezTo>
                  <a:cubicBezTo>
                    <a:pt x="63" y="314"/>
                    <a:pt x="65" y="307"/>
                    <a:pt x="67" y="305"/>
                  </a:cubicBezTo>
                  <a:cubicBezTo>
                    <a:pt x="70" y="280"/>
                    <a:pt x="88" y="255"/>
                    <a:pt x="87" y="238"/>
                  </a:cubicBezTo>
                  <a:cubicBezTo>
                    <a:pt x="84" y="240"/>
                    <a:pt x="88" y="241"/>
                    <a:pt x="85" y="242"/>
                  </a:cubicBezTo>
                  <a:cubicBezTo>
                    <a:pt x="85" y="241"/>
                    <a:pt x="84" y="240"/>
                    <a:pt x="83" y="240"/>
                  </a:cubicBezTo>
                  <a:cubicBezTo>
                    <a:pt x="85" y="227"/>
                    <a:pt x="100" y="226"/>
                    <a:pt x="101" y="212"/>
                  </a:cubicBezTo>
                  <a:cubicBezTo>
                    <a:pt x="103" y="212"/>
                    <a:pt x="104" y="210"/>
                    <a:pt x="106" y="211"/>
                  </a:cubicBezTo>
                  <a:cubicBezTo>
                    <a:pt x="115" y="172"/>
                    <a:pt x="105" y="102"/>
                    <a:pt x="142" y="87"/>
                  </a:cubicBezTo>
                  <a:cubicBezTo>
                    <a:pt x="140" y="87"/>
                    <a:pt x="137" y="87"/>
                    <a:pt x="137" y="86"/>
                  </a:cubicBezTo>
                  <a:cubicBezTo>
                    <a:pt x="149" y="63"/>
                    <a:pt x="196" y="51"/>
                    <a:pt x="215" y="77"/>
                  </a:cubicBezTo>
                  <a:cubicBezTo>
                    <a:pt x="215" y="75"/>
                    <a:pt x="214" y="74"/>
                    <a:pt x="213" y="73"/>
                  </a:cubicBezTo>
                  <a:cubicBezTo>
                    <a:pt x="217" y="74"/>
                    <a:pt x="218" y="79"/>
                    <a:pt x="221" y="80"/>
                  </a:cubicBezTo>
                  <a:cubicBezTo>
                    <a:pt x="222" y="75"/>
                    <a:pt x="214" y="73"/>
                    <a:pt x="218" y="69"/>
                  </a:cubicBezTo>
                  <a:cubicBezTo>
                    <a:pt x="226" y="73"/>
                    <a:pt x="229" y="82"/>
                    <a:pt x="235" y="87"/>
                  </a:cubicBezTo>
                  <a:cubicBezTo>
                    <a:pt x="233" y="62"/>
                    <a:pt x="207" y="60"/>
                    <a:pt x="187" y="52"/>
                  </a:cubicBezTo>
                  <a:cubicBezTo>
                    <a:pt x="187" y="53"/>
                    <a:pt x="187" y="55"/>
                    <a:pt x="186" y="55"/>
                  </a:cubicBezTo>
                  <a:cubicBezTo>
                    <a:pt x="184" y="48"/>
                    <a:pt x="169" y="62"/>
                    <a:pt x="163" y="59"/>
                  </a:cubicBezTo>
                  <a:cubicBezTo>
                    <a:pt x="185" y="45"/>
                    <a:pt x="221" y="37"/>
                    <a:pt x="239" y="57"/>
                  </a:cubicBezTo>
                  <a:cubicBezTo>
                    <a:pt x="240" y="50"/>
                    <a:pt x="230" y="45"/>
                    <a:pt x="224" y="38"/>
                  </a:cubicBezTo>
                  <a:cubicBezTo>
                    <a:pt x="235" y="34"/>
                    <a:pt x="243" y="46"/>
                    <a:pt x="249" y="47"/>
                  </a:cubicBezTo>
                  <a:cubicBezTo>
                    <a:pt x="247" y="44"/>
                    <a:pt x="241" y="40"/>
                    <a:pt x="243" y="37"/>
                  </a:cubicBezTo>
                  <a:cubicBezTo>
                    <a:pt x="245" y="37"/>
                    <a:pt x="246" y="37"/>
                    <a:pt x="247" y="38"/>
                  </a:cubicBezTo>
                  <a:cubicBezTo>
                    <a:pt x="247" y="35"/>
                    <a:pt x="245" y="35"/>
                    <a:pt x="246" y="33"/>
                  </a:cubicBezTo>
                  <a:cubicBezTo>
                    <a:pt x="256" y="32"/>
                    <a:pt x="268" y="26"/>
                    <a:pt x="277" y="17"/>
                  </a:cubicBezTo>
                  <a:cubicBezTo>
                    <a:pt x="274" y="11"/>
                    <a:pt x="292" y="3"/>
                    <a:pt x="304" y="3"/>
                  </a:cubicBezTo>
                  <a:cubicBezTo>
                    <a:pt x="304" y="6"/>
                    <a:pt x="296" y="6"/>
                    <a:pt x="300" y="8"/>
                  </a:cubicBezTo>
                  <a:cubicBezTo>
                    <a:pt x="310" y="0"/>
                    <a:pt x="333" y="7"/>
                    <a:pt x="332" y="17"/>
                  </a:cubicBezTo>
                  <a:cubicBezTo>
                    <a:pt x="342" y="11"/>
                    <a:pt x="355" y="13"/>
                    <a:pt x="361" y="21"/>
                  </a:cubicBezTo>
                  <a:cubicBezTo>
                    <a:pt x="356" y="22"/>
                    <a:pt x="354" y="19"/>
                    <a:pt x="350" y="19"/>
                  </a:cubicBezTo>
                  <a:cubicBezTo>
                    <a:pt x="366" y="34"/>
                    <a:pt x="392" y="39"/>
                    <a:pt x="405" y="57"/>
                  </a:cubicBezTo>
                  <a:cubicBezTo>
                    <a:pt x="399" y="69"/>
                    <a:pt x="409" y="80"/>
                    <a:pt x="418" y="78"/>
                  </a:cubicBezTo>
                  <a:cubicBezTo>
                    <a:pt x="419" y="80"/>
                    <a:pt x="420" y="84"/>
                    <a:pt x="421" y="87"/>
                  </a:cubicBezTo>
                  <a:cubicBezTo>
                    <a:pt x="424" y="87"/>
                    <a:pt x="424" y="85"/>
                    <a:pt x="425" y="84"/>
                  </a:cubicBezTo>
                  <a:cubicBezTo>
                    <a:pt x="430" y="92"/>
                    <a:pt x="427" y="99"/>
                    <a:pt x="432" y="108"/>
                  </a:cubicBezTo>
                  <a:cubicBezTo>
                    <a:pt x="437" y="109"/>
                    <a:pt x="434" y="103"/>
                    <a:pt x="438" y="104"/>
                  </a:cubicBezTo>
                  <a:cubicBezTo>
                    <a:pt x="440" y="115"/>
                    <a:pt x="455" y="119"/>
                    <a:pt x="452" y="131"/>
                  </a:cubicBezTo>
                  <a:cubicBezTo>
                    <a:pt x="453" y="133"/>
                    <a:pt x="457" y="131"/>
                    <a:pt x="458" y="133"/>
                  </a:cubicBezTo>
                  <a:cubicBezTo>
                    <a:pt x="457" y="138"/>
                    <a:pt x="451" y="136"/>
                    <a:pt x="450" y="140"/>
                  </a:cubicBezTo>
                  <a:cubicBezTo>
                    <a:pt x="453" y="142"/>
                    <a:pt x="458" y="142"/>
                    <a:pt x="460" y="145"/>
                  </a:cubicBezTo>
                  <a:cubicBezTo>
                    <a:pt x="458" y="146"/>
                    <a:pt x="455" y="146"/>
                    <a:pt x="454" y="147"/>
                  </a:cubicBezTo>
                  <a:cubicBezTo>
                    <a:pt x="456" y="152"/>
                    <a:pt x="461" y="153"/>
                    <a:pt x="468" y="153"/>
                  </a:cubicBezTo>
                  <a:cubicBezTo>
                    <a:pt x="470" y="158"/>
                    <a:pt x="469" y="167"/>
                    <a:pt x="468" y="172"/>
                  </a:cubicBezTo>
                  <a:cubicBezTo>
                    <a:pt x="473" y="174"/>
                    <a:pt x="479" y="176"/>
                    <a:pt x="482" y="180"/>
                  </a:cubicBezTo>
                  <a:cubicBezTo>
                    <a:pt x="475" y="187"/>
                    <a:pt x="492" y="189"/>
                    <a:pt x="495" y="194"/>
                  </a:cubicBezTo>
                  <a:cubicBezTo>
                    <a:pt x="495" y="216"/>
                    <a:pt x="522" y="241"/>
                    <a:pt x="505" y="266"/>
                  </a:cubicBezTo>
                  <a:cubicBezTo>
                    <a:pt x="506" y="269"/>
                    <a:pt x="509" y="270"/>
                    <a:pt x="508" y="274"/>
                  </a:cubicBezTo>
                  <a:cubicBezTo>
                    <a:pt x="501" y="291"/>
                    <a:pt x="512" y="316"/>
                    <a:pt x="503" y="334"/>
                  </a:cubicBezTo>
                  <a:cubicBezTo>
                    <a:pt x="490" y="337"/>
                    <a:pt x="483" y="347"/>
                    <a:pt x="477" y="356"/>
                  </a:cubicBezTo>
                  <a:cubicBezTo>
                    <a:pt x="474" y="347"/>
                    <a:pt x="468" y="358"/>
                    <a:pt x="463" y="358"/>
                  </a:cubicBezTo>
                  <a:cubicBezTo>
                    <a:pt x="460" y="378"/>
                    <a:pt x="479" y="377"/>
                    <a:pt x="483" y="390"/>
                  </a:cubicBezTo>
                  <a:cubicBezTo>
                    <a:pt x="480" y="391"/>
                    <a:pt x="481" y="397"/>
                    <a:pt x="481" y="401"/>
                  </a:cubicBezTo>
                  <a:cubicBezTo>
                    <a:pt x="476" y="404"/>
                    <a:pt x="474" y="405"/>
                    <a:pt x="469" y="405"/>
                  </a:cubicBezTo>
                  <a:cubicBezTo>
                    <a:pt x="468" y="410"/>
                    <a:pt x="471" y="411"/>
                    <a:pt x="471" y="416"/>
                  </a:cubicBezTo>
                  <a:cubicBezTo>
                    <a:pt x="465" y="416"/>
                    <a:pt x="464" y="425"/>
                    <a:pt x="465" y="427"/>
                  </a:cubicBezTo>
                  <a:cubicBezTo>
                    <a:pt x="473" y="428"/>
                    <a:pt x="474" y="423"/>
                    <a:pt x="478" y="421"/>
                  </a:cubicBezTo>
                  <a:cubicBezTo>
                    <a:pt x="478" y="423"/>
                    <a:pt x="482" y="421"/>
                    <a:pt x="482" y="423"/>
                  </a:cubicBezTo>
                  <a:cubicBezTo>
                    <a:pt x="482" y="427"/>
                    <a:pt x="479" y="427"/>
                    <a:pt x="480" y="431"/>
                  </a:cubicBezTo>
                  <a:cubicBezTo>
                    <a:pt x="483" y="432"/>
                    <a:pt x="484" y="425"/>
                    <a:pt x="486" y="430"/>
                  </a:cubicBezTo>
                  <a:cubicBezTo>
                    <a:pt x="483" y="437"/>
                    <a:pt x="474" y="439"/>
                    <a:pt x="476" y="452"/>
                  </a:cubicBezTo>
                  <a:cubicBezTo>
                    <a:pt x="467" y="456"/>
                    <a:pt x="459" y="461"/>
                    <a:pt x="452" y="467"/>
                  </a:cubicBezTo>
                  <a:cubicBezTo>
                    <a:pt x="469" y="484"/>
                    <a:pt x="484" y="511"/>
                    <a:pt x="507" y="521"/>
                  </a:cubicBezTo>
                  <a:cubicBezTo>
                    <a:pt x="517" y="526"/>
                    <a:pt x="535" y="528"/>
                    <a:pt x="551" y="532"/>
                  </a:cubicBezTo>
                  <a:cubicBezTo>
                    <a:pt x="570" y="537"/>
                    <a:pt x="586" y="544"/>
                    <a:pt x="605" y="546"/>
                  </a:cubicBezTo>
                  <a:cubicBezTo>
                    <a:pt x="605" y="579"/>
                    <a:pt x="605" y="612"/>
                    <a:pt x="605" y="645"/>
                  </a:cubicBezTo>
                  <a:cubicBezTo>
                    <a:pt x="570" y="645"/>
                    <a:pt x="534" y="645"/>
                    <a:pt x="499" y="645"/>
                  </a:cubicBezTo>
                  <a:cubicBezTo>
                    <a:pt x="494" y="620"/>
                    <a:pt x="492" y="592"/>
                    <a:pt x="481" y="574"/>
                  </a:cubicBezTo>
                  <a:cubicBezTo>
                    <a:pt x="473" y="554"/>
                    <a:pt x="465" y="524"/>
                    <a:pt x="443" y="514"/>
                  </a:cubicBezTo>
                  <a:cubicBezTo>
                    <a:pt x="440" y="524"/>
                    <a:pt x="449" y="541"/>
                    <a:pt x="446" y="551"/>
                  </a:cubicBezTo>
                  <a:cubicBezTo>
                    <a:pt x="444" y="547"/>
                    <a:pt x="441" y="543"/>
                    <a:pt x="437" y="541"/>
                  </a:cubicBezTo>
                  <a:cubicBezTo>
                    <a:pt x="433" y="542"/>
                    <a:pt x="434" y="550"/>
                    <a:pt x="429" y="551"/>
                  </a:cubicBezTo>
                  <a:cubicBezTo>
                    <a:pt x="427" y="541"/>
                    <a:pt x="434" y="524"/>
                    <a:pt x="432" y="514"/>
                  </a:cubicBezTo>
                  <a:cubicBezTo>
                    <a:pt x="412" y="547"/>
                    <a:pt x="396" y="585"/>
                    <a:pt x="366" y="608"/>
                  </a:cubicBezTo>
                  <a:cubicBezTo>
                    <a:pt x="354" y="616"/>
                    <a:pt x="340" y="618"/>
                    <a:pt x="332" y="631"/>
                  </a:cubicBezTo>
                  <a:cubicBezTo>
                    <a:pt x="343" y="628"/>
                    <a:pt x="350" y="622"/>
                    <a:pt x="361" y="619"/>
                  </a:cubicBezTo>
                  <a:cubicBezTo>
                    <a:pt x="369" y="627"/>
                    <a:pt x="376" y="636"/>
                    <a:pt x="383" y="645"/>
                  </a:cubicBezTo>
                  <a:cubicBezTo>
                    <a:pt x="363" y="645"/>
                    <a:pt x="343" y="645"/>
                    <a:pt x="323" y="645"/>
                  </a:cubicBezTo>
                  <a:cubicBezTo>
                    <a:pt x="327" y="635"/>
                    <a:pt x="332" y="626"/>
                    <a:pt x="336" y="617"/>
                  </a:cubicBezTo>
                  <a:cubicBezTo>
                    <a:pt x="345" y="617"/>
                    <a:pt x="349" y="612"/>
                    <a:pt x="355" y="609"/>
                  </a:cubicBezTo>
                  <a:cubicBezTo>
                    <a:pt x="334" y="615"/>
                    <a:pt x="317" y="604"/>
                    <a:pt x="296" y="596"/>
                  </a:cubicBezTo>
                  <a:cubicBezTo>
                    <a:pt x="252" y="579"/>
                    <a:pt x="204" y="555"/>
                    <a:pt x="177" y="523"/>
                  </a:cubicBezTo>
                  <a:cubicBezTo>
                    <a:pt x="177" y="568"/>
                    <a:pt x="197" y="604"/>
                    <a:pt x="206" y="645"/>
                  </a:cubicBezTo>
                  <a:cubicBezTo>
                    <a:pt x="137" y="645"/>
                    <a:pt x="69" y="645"/>
                    <a:pt x="0" y="645"/>
                  </a:cubicBezTo>
                  <a:cubicBezTo>
                    <a:pt x="0" y="620"/>
                    <a:pt x="0" y="595"/>
                    <a:pt x="0" y="570"/>
                  </a:cubicBezTo>
                  <a:close/>
                  <a:moveTo>
                    <a:pt x="221" y="480"/>
                  </a:moveTo>
                  <a:cubicBezTo>
                    <a:pt x="222" y="488"/>
                    <a:pt x="225" y="485"/>
                    <a:pt x="230" y="486"/>
                  </a:cubicBezTo>
                  <a:cubicBezTo>
                    <a:pt x="231" y="481"/>
                    <a:pt x="226" y="480"/>
                    <a:pt x="221" y="480"/>
                  </a:cubicBezTo>
                  <a:close/>
                  <a:moveTo>
                    <a:pt x="314" y="29"/>
                  </a:moveTo>
                  <a:cubicBezTo>
                    <a:pt x="317" y="27"/>
                    <a:pt x="319" y="23"/>
                    <a:pt x="323" y="22"/>
                  </a:cubicBezTo>
                  <a:cubicBezTo>
                    <a:pt x="318" y="19"/>
                    <a:pt x="302" y="29"/>
                    <a:pt x="296" y="21"/>
                  </a:cubicBezTo>
                  <a:cubicBezTo>
                    <a:pt x="285" y="29"/>
                    <a:pt x="272" y="34"/>
                    <a:pt x="262" y="43"/>
                  </a:cubicBezTo>
                  <a:cubicBezTo>
                    <a:pt x="266" y="44"/>
                    <a:pt x="270" y="39"/>
                    <a:pt x="271" y="42"/>
                  </a:cubicBezTo>
                  <a:cubicBezTo>
                    <a:pt x="265" y="56"/>
                    <a:pt x="256" y="76"/>
                    <a:pt x="256" y="93"/>
                  </a:cubicBezTo>
                  <a:cubicBezTo>
                    <a:pt x="261" y="79"/>
                    <a:pt x="267" y="65"/>
                    <a:pt x="273" y="51"/>
                  </a:cubicBezTo>
                  <a:cubicBezTo>
                    <a:pt x="275" y="58"/>
                    <a:pt x="271" y="66"/>
                    <a:pt x="277" y="64"/>
                  </a:cubicBezTo>
                  <a:cubicBezTo>
                    <a:pt x="272" y="70"/>
                    <a:pt x="274" y="75"/>
                    <a:pt x="277" y="82"/>
                  </a:cubicBezTo>
                  <a:cubicBezTo>
                    <a:pt x="279" y="80"/>
                    <a:pt x="279" y="76"/>
                    <a:pt x="282" y="75"/>
                  </a:cubicBezTo>
                  <a:cubicBezTo>
                    <a:pt x="283" y="78"/>
                    <a:pt x="279" y="85"/>
                    <a:pt x="282" y="82"/>
                  </a:cubicBezTo>
                  <a:cubicBezTo>
                    <a:pt x="286" y="73"/>
                    <a:pt x="296" y="62"/>
                    <a:pt x="305" y="61"/>
                  </a:cubicBezTo>
                  <a:cubicBezTo>
                    <a:pt x="295" y="71"/>
                    <a:pt x="299" y="75"/>
                    <a:pt x="297" y="88"/>
                  </a:cubicBezTo>
                  <a:cubicBezTo>
                    <a:pt x="306" y="82"/>
                    <a:pt x="302" y="64"/>
                    <a:pt x="310" y="57"/>
                  </a:cubicBezTo>
                  <a:cubicBezTo>
                    <a:pt x="352" y="44"/>
                    <a:pt x="388" y="75"/>
                    <a:pt x="393" y="115"/>
                  </a:cubicBezTo>
                  <a:cubicBezTo>
                    <a:pt x="393" y="110"/>
                    <a:pt x="392" y="104"/>
                    <a:pt x="396" y="102"/>
                  </a:cubicBezTo>
                  <a:cubicBezTo>
                    <a:pt x="402" y="111"/>
                    <a:pt x="399" y="127"/>
                    <a:pt x="407" y="133"/>
                  </a:cubicBezTo>
                  <a:cubicBezTo>
                    <a:pt x="426" y="100"/>
                    <a:pt x="395" y="68"/>
                    <a:pt x="377" y="50"/>
                  </a:cubicBezTo>
                  <a:cubicBezTo>
                    <a:pt x="362" y="45"/>
                    <a:pt x="346" y="28"/>
                    <a:pt x="326" y="37"/>
                  </a:cubicBezTo>
                  <a:cubicBezTo>
                    <a:pt x="332" y="36"/>
                    <a:pt x="336" y="38"/>
                    <a:pt x="340" y="40"/>
                  </a:cubicBezTo>
                  <a:cubicBezTo>
                    <a:pt x="320" y="36"/>
                    <a:pt x="303" y="38"/>
                    <a:pt x="293" y="44"/>
                  </a:cubicBezTo>
                  <a:cubicBezTo>
                    <a:pt x="298" y="37"/>
                    <a:pt x="311" y="25"/>
                    <a:pt x="314" y="29"/>
                  </a:cubicBezTo>
                  <a:close/>
                  <a:moveTo>
                    <a:pt x="393" y="57"/>
                  </a:moveTo>
                  <a:cubicBezTo>
                    <a:pt x="393" y="48"/>
                    <a:pt x="386" y="46"/>
                    <a:pt x="379" y="44"/>
                  </a:cubicBezTo>
                  <a:cubicBezTo>
                    <a:pt x="382" y="50"/>
                    <a:pt x="384" y="57"/>
                    <a:pt x="393" y="57"/>
                  </a:cubicBezTo>
                  <a:close/>
                  <a:moveTo>
                    <a:pt x="310" y="79"/>
                  </a:moveTo>
                  <a:cubicBezTo>
                    <a:pt x="318" y="63"/>
                    <a:pt x="338" y="66"/>
                    <a:pt x="359" y="64"/>
                  </a:cubicBezTo>
                  <a:cubicBezTo>
                    <a:pt x="340" y="56"/>
                    <a:pt x="310" y="61"/>
                    <a:pt x="310" y="79"/>
                  </a:cubicBezTo>
                  <a:close/>
                  <a:moveTo>
                    <a:pt x="187" y="68"/>
                  </a:moveTo>
                  <a:cubicBezTo>
                    <a:pt x="186" y="68"/>
                    <a:pt x="181" y="66"/>
                    <a:pt x="181" y="69"/>
                  </a:cubicBezTo>
                  <a:cubicBezTo>
                    <a:pt x="190" y="73"/>
                    <a:pt x="196" y="79"/>
                    <a:pt x="202" y="86"/>
                  </a:cubicBezTo>
                  <a:cubicBezTo>
                    <a:pt x="203" y="79"/>
                    <a:pt x="193" y="76"/>
                    <a:pt x="195" y="73"/>
                  </a:cubicBezTo>
                  <a:cubicBezTo>
                    <a:pt x="198" y="73"/>
                    <a:pt x="197" y="76"/>
                    <a:pt x="200" y="75"/>
                  </a:cubicBezTo>
                  <a:cubicBezTo>
                    <a:pt x="201" y="69"/>
                    <a:pt x="190" y="70"/>
                    <a:pt x="194" y="65"/>
                  </a:cubicBezTo>
                  <a:cubicBezTo>
                    <a:pt x="189" y="67"/>
                    <a:pt x="186" y="61"/>
                    <a:pt x="184" y="65"/>
                  </a:cubicBezTo>
                  <a:cubicBezTo>
                    <a:pt x="186" y="65"/>
                    <a:pt x="187" y="66"/>
                    <a:pt x="187" y="68"/>
                  </a:cubicBezTo>
                  <a:close/>
                  <a:moveTo>
                    <a:pt x="186" y="78"/>
                  </a:moveTo>
                  <a:cubicBezTo>
                    <a:pt x="182" y="75"/>
                    <a:pt x="177" y="73"/>
                    <a:pt x="171" y="71"/>
                  </a:cubicBezTo>
                  <a:cubicBezTo>
                    <a:pt x="175" y="74"/>
                    <a:pt x="182" y="80"/>
                    <a:pt x="186" y="78"/>
                  </a:cubicBezTo>
                  <a:close/>
                  <a:moveTo>
                    <a:pt x="418" y="89"/>
                  </a:moveTo>
                  <a:cubicBezTo>
                    <a:pt x="420" y="84"/>
                    <a:pt x="413" y="79"/>
                    <a:pt x="407" y="78"/>
                  </a:cubicBezTo>
                  <a:cubicBezTo>
                    <a:pt x="408" y="84"/>
                    <a:pt x="412" y="88"/>
                    <a:pt x="418" y="89"/>
                  </a:cubicBezTo>
                  <a:close/>
                  <a:moveTo>
                    <a:pt x="172" y="84"/>
                  </a:moveTo>
                  <a:cubicBezTo>
                    <a:pt x="168" y="80"/>
                    <a:pt x="164" y="85"/>
                    <a:pt x="162" y="80"/>
                  </a:cubicBezTo>
                  <a:cubicBezTo>
                    <a:pt x="156" y="85"/>
                    <a:pt x="149" y="81"/>
                    <a:pt x="144" y="87"/>
                  </a:cubicBezTo>
                  <a:cubicBezTo>
                    <a:pt x="159" y="85"/>
                    <a:pt x="159" y="86"/>
                    <a:pt x="172" y="84"/>
                  </a:cubicBezTo>
                  <a:close/>
                  <a:moveTo>
                    <a:pt x="464" y="207"/>
                  </a:moveTo>
                  <a:cubicBezTo>
                    <a:pt x="458" y="190"/>
                    <a:pt x="452" y="181"/>
                    <a:pt x="436" y="169"/>
                  </a:cubicBezTo>
                  <a:cubicBezTo>
                    <a:pt x="428" y="180"/>
                    <a:pt x="442" y="185"/>
                    <a:pt x="445" y="194"/>
                  </a:cubicBezTo>
                  <a:cubicBezTo>
                    <a:pt x="443" y="193"/>
                    <a:pt x="442" y="192"/>
                    <a:pt x="440" y="193"/>
                  </a:cubicBezTo>
                  <a:cubicBezTo>
                    <a:pt x="438" y="206"/>
                    <a:pt x="451" y="220"/>
                    <a:pt x="456" y="226"/>
                  </a:cubicBezTo>
                  <a:cubicBezTo>
                    <a:pt x="460" y="245"/>
                    <a:pt x="459" y="267"/>
                    <a:pt x="471" y="278"/>
                  </a:cubicBezTo>
                  <a:cubicBezTo>
                    <a:pt x="472" y="255"/>
                    <a:pt x="469" y="231"/>
                    <a:pt x="465" y="216"/>
                  </a:cubicBezTo>
                  <a:cubicBezTo>
                    <a:pt x="464" y="220"/>
                    <a:pt x="469" y="224"/>
                    <a:pt x="465" y="226"/>
                  </a:cubicBezTo>
                  <a:cubicBezTo>
                    <a:pt x="464" y="220"/>
                    <a:pt x="457" y="206"/>
                    <a:pt x="464" y="207"/>
                  </a:cubicBezTo>
                  <a:close/>
                  <a:moveTo>
                    <a:pt x="505" y="252"/>
                  </a:moveTo>
                  <a:cubicBezTo>
                    <a:pt x="509" y="238"/>
                    <a:pt x="494" y="226"/>
                    <a:pt x="482" y="221"/>
                  </a:cubicBezTo>
                  <a:cubicBezTo>
                    <a:pt x="488" y="233"/>
                    <a:pt x="497" y="242"/>
                    <a:pt x="505" y="252"/>
                  </a:cubicBezTo>
                  <a:close/>
                  <a:moveTo>
                    <a:pt x="476" y="239"/>
                  </a:moveTo>
                  <a:cubicBezTo>
                    <a:pt x="476" y="233"/>
                    <a:pt x="476" y="227"/>
                    <a:pt x="473" y="225"/>
                  </a:cubicBezTo>
                  <a:cubicBezTo>
                    <a:pt x="475" y="231"/>
                    <a:pt x="469" y="238"/>
                    <a:pt x="476" y="239"/>
                  </a:cubicBezTo>
                  <a:close/>
                  <a:moveTo>
                    <a:pt x="446" y="257"/>
                  </a:moveTo>
                  <a:cubicBezTo>
                    <a:pt x="443" y="258"/>
                    <a:pt x="440" y="253"/>
                    <a:pt x="440" y="256"/>
                  </a:cubicBezTo>
                  <a:cubicBezTo>
                    <a:pt x="442" y="256"/>
                    <a:pt x="440" y="259"/>
                    <a:pt x="440" y="260"/>
                  </a:cubicBezTo>
                  <a:cubicBezTo>
                    <a:pt x="443" y="261"/>
                    <a:pt x="446" y="263"/>
                    <a:pt x="447" y="263"/>
                  </a:cubicBezTo>
                  <a:cubicBezTo>
                    <a:pt x="447" y="270"/>
                    <a:pt x="456" y="277"/>
                    <a:pt x="455" y="287"/>
                  </a:cubicBezTo>
                  <a:cubicBezTo>
                    <a:pt x="454" y="298"/>
                    <a:pt x="440" y="309"/>
                    <a:pt x="449" y="319"/>
                  </a:cubicBezTo>
                  <a:cubicBezTo>
                    <a:pt x="451" y="313"/>
                    <a:pt x="452" y="289"/>
                    <a:pt x="459" y="300"/>
                  </a:cubicBezTo>
                  <a:cubicBezTo>
                    <a:pt x="461" y="274"/>
                    <a:pt x="451" y="260"/>
                    <a:pt x="442" y="245"/>
                  </a:cubicBezTo>
                  <a:cubicBezTo>
                    <a:pt x="441" y="252"/>
                    <a:pt x="447" y="251"/>
                    <a:pt x="446" y="257"/>
                  </a:cubicBezTo>
                  <a:close/>
                  <a:moveTo>
                    <a:pt x="403" y="251"/>
                  </a:moveTo>
                  <a:cubicBezTo>
                    <a:pt x="404" y="256"/>
                    <a:pt x="408" y="258"/>
                    <a:pt x="412" y="260"/>
                  </a:cubicBezTo>
                  <a:cubicBezTo>
                    <a:pt x="413" y="258"/>
                    <a:pt x="414" y="256"/>
                    <a:pt x="415" y="254"/>
                  </a:cubicBezTo>
                  <a:cubicBezTo>
                    <a:pt x="407" y="255"/>
                    <a:pt x="415" y="253"/>
                    <a:pt x="415" y="251"/>
                  </a:cubicBezTo>
                  <a:cubicBezTo>
                    <a:pt x="410" y="253"/>
                    <a:pt x="409" y="253"/>
                    <a:pt x="403" y="251"/>
                  </a:cubicBezTo>
                  <a:close/>
                  <a:moveTo>
                    <a:pt x="459" y="426"/>
                  </a:moveTo>
                  <a:cubicBezTo>
                    <a:pt x="465" y="427"/>
                    <a:pt x="462" y="419"/>
                    <a:pt x="463" y="414"/>
                  </a:cubicBezTo>
                  <a:cubicBezTo>
                    <a:pt x="460" y="414"/>
                    <a:pt x="458" y="414"/>
                    <a:pt x="455" y="414"/>
                  </a:cubicBezTo>
                  <a:cubicBezTo>
                    <a:pt x="456" y="421"/>
                    <a:pt x="453" y="424"/>
                    <a:pt x="459" y="426"/>
                  </a:cubicBezTo>
                  <a:close/>
                  <a:moveTo>
                    <a:pt x="384" y="419"/>
                  </a:moveTo>
                  <a:cubicBezTo>
                    <a:pt x="382" y="419"/>
                    <a:pt x="379" y="420"/>
                    <a:pt x="380" y="417"/>
                  </a:cubicBezTo>
                  <a:cubicBezTo>
                    <a:pt x="363" y="426"/>
                    <a:pt x="346" y="427"/>
                    <a:pt x="328" y="428"/>
                  </a:cubicBezTo>
                  <a:cubicBezTo>
                    <a:pt x="335" y="428"/>
                    <a:pt x="328" y="424"/>
                    <a:pt x="327" y="423"/>
                  </a:cubicBezTo>
                  <a:cubicBezTo>
                    <a:pt x="330" y="423"/>
                    <a:pt x="332" y="421"/>
                    <a:pt x="336" y="422"/>
                  </a:cubicBezTo>
                  <a:cubicBezTo>
                    <a:pt x="337" y="416"/>
                    <a:pt x="317" y="415"/>
                    <a:pt x="319" y="423"/>
                  </a:cubicBezTo>
                  <a:cubicBezTo>
                    <a:pt x="321" y="424"/>
                    <a:pt x="324" y="423"/>
                    <a:pt x="324" y="425"/>
                  </a:cubicBezTo>
                  <a:cubicBezTo>
                    <a:pt x="324" y="426"/>
                    <a:pt x="324" y="428"/>
                    <a:pt x="324" y="430"/>
                  </a:cubicBezTo>
                  <a:cubicBezTo>
                    <a:pt x="319" y="431"/>
                    <a:pt x="316" y="429"/>
                    <a:pt x="312" y="432"/>
                  </a:cubicBezTo>
                  <a:cubicBezTo>
                    <a:pt x="313" y="429"/>
                    <a:pt x="310" y="429"/>
                    <a:pt x="310" y="426"/>
                  </a:cubicBezTo>
                  <a:cubicBezTo>
                    <a:pt x="313" y="425"/>
                    <a:pt x="313" y="423"/>
                    <a:pt x="317" y="423"/>
                  </a:cubicBezTo>
                  <a:cubicBezTo>
                    <a:pt x="308" y="415"/>
                    <a:pt x="292" y="422"/>
                    <a:pt x="283" y="421"/>
                  </a:cubicBezTo>
                  <a:cubicBezTo>
                    <a:pt x="282" y="433"/>
                    <a:pt x="300" y="422"/>
                    <a:pt x="304" y="428"/>
                  </a:cubicBezTo>
                  <a:cubicBezTo>
                    <a:pt x="292" y="438"/>
                    <a:pt x="272" y="425"/>
                    <a:pt x="259" y="434"/>
                  </a:cubicBezTo>
                  <a:cubicBezTo>
                    <a:pt x="251" y="431"/>
                    <a:pt x="246" y="425"/>
                    <a:pt x="238" y="423"/>
                  </a:cubicBezTo>
                  <a:cubicBezTo>
                    <a:pt x="236" y="429"/>
                    <a:pt x="237" y="430"/>
                    <a:pt x="239" y="436"/>
                  </a:cubicBezTo>
                  <a:cubicBezTo>
                    <a:pt x="235" y="440"/>
                    <a:pt x="234" y="446"/>
                    <a:pt x="233" y="453"/>
                  </a:cubicBezTo>
                  <a:cubicBezTo>
                    <a:pt x="234" y="453"/>
                    <a:pt x="236" y="453"/>
                    <a:pt x="238" y="453"/>
                  </a:cubicBezTo>
                  <a:cubicBezTo>
                    <a:pt x="241" y="451"/>
                    <a:pt x="236" y="449"/>
                    <a:pt x="239" y="448"/>
                  </a:cubicBezTo>
                  <a:cubicBezTo>
                    <a:pt x="242" y="454"/>
                    <a:pt x="233" y="456"/>
                    <a:pt x="240" y="458"/>
                  </a:cubicBezTo>
                  <a:cubicBezTo>
                    <a:pt x="235" y="460"/>
                    <a:pt x="230" y="468"/>
                    <a:pt x="231" y="471"/>
                  </a:cubicBezTo>
                  <a:cubicBezTo>
                    <a:pt x="238" y="469"/>
                    <a:pt x="251" y="468"/>
                    <a:pt x="257" y="468"/>
                  </a:cubicBezTo>
                  <a:cubicBezTo>
                    <a:pt x="250" y="468"/>
                    <a:pt x="248" y="472"/>
                    <a:pt x="246" y="476"/>
                  </a:cubicBezTo>
                  <a:cubicBezTo>
                    <a:pt x="253" y="472"/>
                    <a:pt x="252" y="486"/>
                    <a:pt x="249" y="489"/>
                  </a:cubicBezTo>
                  <a:cubicBezTo>
                    <a:pt x="255" y="487"/>
                    <a:pt x="249" y="496"/>
                    <a:pt x="252" y="492"/>
                  </a:cubicBezTo>
                  <a:cubicBezTo>
                    <a:pt x="256" y="491"/>
                    <a:pt x="250" y="488"/>
                    <a:pt x="252" y="485"/>
                  </a:cubicBezTo>
                  <a:cubicBezTo>
                    <a:pt x="260" y="486"/>
                    <a:pt x="261" y="473"/>
                    <a:pt x="269" y="477"/>
                  </a:cubicBezTo>
                  <a:cubicBezTo>
                    <a:pt x="267" y="480"/>
                    <a:pt x="265" y="482"/>
                    <a:pt x="264" y="485"/>
                  </a:cubicBezTo>
                  <a:cubicBezTo>
                    <a:pt x="268" y="486"/>
                    <a:pt x="268" y="476"/>
                    <a:pt x="273" y="481"/>
                  </a:cubicBezTo>
                  <a:cubicBezTo>
                    <a:pt x="265" y="482"/>
                    <a:pt x="272" y="487"/>
                    <a:pt x="273" y="490"/>
                  </a:cubicBezTo>
                  <a:cubicBezTo>
                    <a:pt x="270" y="490"/>
                    <a:pt x="270" y="492"/>
                    <a:pt x="269" y="493"/>
                  </a:cubicBezTo>
                  <a:cubicBezTo>
                    <a:pt x="267" y="493"/>
                    <a:pt x="268" y="491"/>
                    <a:pt x="266" y="490"/>
                  </a:cubicBezTo>
                  <a:cubicBezTo>
                    <a:pt x="268" y="497"/>
                    <a:pt x="261" y="504"/>
                    <a:pt x="262" y="510"/>
                  </a:cubicBezTo>
                  <a:cubicBezTo>
                    <a:pt x="265" y="505"/>
                    <a:pt x="266" y="500"/>
                    <a:pt x="270" y="498"/>
                  </a:cubicBezTo>
                  <a:cubicBezTo>
                    <a:pt x="270" y="504"/>
                    <a:pt x="267" y="509"/>
                    <a:pt x="271" y="512"/>
                  </a:cubicBezTo>
                  <a:cubicBezTo>
                    <a:pt x="270" y="503"/>
                    <a:pt x="277" y="501"/>
                    <a:pt x="271" y="495"/>
                  </a:cubicBezTo>
                  <a:cubicBezTo>
                    <a:pt x="276" y="496"/>
                    <a:pt x="272" y="488"/>
                    <a:pt x="278" y="490"/>
                  </a:cubicBezTo>
                  <a:cubicBezTo>
                    <a:pt x="277" y="496"/>
                    <a:pt x="278" y="496"/>
                    <a:pt x="277" y="501"/>
                  </a:cubicBezTo>
                  <a:cubicBezTo>
                    <a:pt x="282" y="502"/>
                    <a:pt x="279" y="510"/>
                    <a:pt x="284" y="511"/>
                  </a:cubicBezTo>
                  <a:cubicBezTo>
                    <a:pt x="286" y="505"/>
                    <a:pt x="284" y="503"/>
                    <a:pt x="287" y="498"/>
                  </a:cubicBezTo>
                  <a:cubicBezTo>
                    <a:pt x="289" y="505"/>
                    <a:pt x="294" y="495"/>
                    <a:pt x="295" y="493"/>
                  </a:cubicBezTo>
                  <a:cubicBezTo>
                    <a:pt x="293" y="502"/>
                    <a:pt x="300" y="489"/>
                    <a:pt x="301" y="497"/>
                  </a:cubicBezTo>
                  <a:cubicBezTo>
                    <a:pt x="299" y="498"/>
                    <a:pt x="297" y="500"/>
                    <a:pt x="295" y="502"/>
                  </a:cubicBezTo>
                  <a:cubicBezTo>
                    <a:pt x="296" y="502"/>
                    <a:pt x="300" y="507"/>
                    <a:pt x="301" y="503"/>
                  </a:cubicBezTo>
                  <a:cubicBezTo>
                    <a:pt x="294" y="501"/>
                    <a:pt x="306" y="495"/>
                    <a:pt x="308" y="498"/>
                  </a:cubicBezTo>
                  <a:cubicBezTo>
                    <a:pt x="307" y="500"/>
                    <a:pt x="306" y="502"/>
                    <a:pt x="302" y="502"/>
                  </a:cubicBezTo>
                  <a:cubicBezTo>
                    <a:pt x="302" y="506"/>
                    <a:pt x="303" y="508"/>
                    <a:pt x="304" y="511"/>
                  </a:cubicBezTo>
                  <a:cubicBezTo>
                    <a:pt x="303" y="511"/>
                    <a:pt x="301" y="511"/>
                    <a:pt x="301" y="512"/>
                  </a:cubicBezTo>
                  <a:cubicBezTo>
                    <a:pt x="307" y="510"/>
                    <a:pt x="307" y="509"/>
                    <a:pt x="310" y="507"/>
                  </a:cubicBezTo>
                  <a:cubicBezTo>
                    <a:pt x="308" y="507"/>
                    <a:pt x="309" y="504"/>
                    <a:pt x="309" y="502"/>
                  </a:cubicBezTo>
                  <a:cubicBezTo>
                    <a:pt x="312" y="502"/>
                    <a:pt x="312" y="498"/>
                    <a:pt x="314" y="497"/>
                  </a:cubicBezTo>
                  <a:cubicBezTo>
                    <a:pt x="316" y="503"/>
                    <a:pt x="323" y="503"/>
                    <a:pt x="326" y="508"/>
                  </a:cubicBezTo>
                  <a:cubicBezTo>
                    <a:pt x="324" y="503"/>
                    <a:pt x="329" y="503"/>
                    <a:pt x="332" y="502"/>
                  </a:cubicBezTo>
                  <a:cubicBezTo>
                    <a:pt x="330" y="494"/>
                    <a:pt x="335" y="499"/>
                    <a:pt x="335" y="494"/>
                  </a:cubicBezTo>
                  <a:cubicBezTo>
                    <a:pt x="341" y="495"/>
                    <a:pt x="343" y="497"/>
                    <a:pt x="341" y="503"/>
                  </a:cubicBezTo>
                  <a:cubicBezTo>
                    <a:pt x="344" y="502"/>
                    <a:pt x="346" y="507"/>
                    <a:pt x="346" y="503"/>
                  </a:cubicBezTo>
                  <a:cubicBezTo>
                    <a:pt x="345" y="503"/>
                    <a:pt x="345" y="500"/>
                    <a:pt x="344" y="499"/>
                  </a:cubicBezTo>
                  <a:cubicBezTo>
                    <a:pt x="347" y="500"/>
                    <a:pt x="349" y="499"/>
                    <a:pt x="349" y="497"/>
                  </a:cubicBezTo>
                  <a:cubicBezTo>
                    <a:pt x="347" y="496"/>
                    <a:pt x="346" y="499"/>
                    <a:pt x="345" y="497"/>
                  </a:cubicBezTo>
                  <a:cubicBezTo>
                    <a:pt x="345" y="491"/>
                    <a:pt x="351" y="499"/>
                    <a:pt x="353" y="494"/>
                  </a:cubicBezTo>
                  <a:cubicBezTo>
                    <a:pt x="351" y="494"/>
                    <a:pt x="349" y="482"/>
                    <a:pt x="353" y="481"/>
                  </a:cubicBezTo>
                  <a:cubicBezTo>
                    <a:pt x="352" y="487"/>
                    <a:pt x="352" y="487"/>
                    <a:pt x="355" y="490"/>
                  </a:cubicBezTo>
                  <a:cubicBezTo>
                    <a:pt x="356" y="488"/>
                    <a:pt x="358" y="487"/>
                    <a:pt x="359" y="486"/>
                  </a:cubicBezTo>
                  <a:cubicBezTo>
                    <a:pt x="356" y="490"/>
                    <a:pt x="361" y="491"/>
                    <a:pt x="363" y="493"/>
                  </a:cubicBezTo>
                  <a:cubicBezTo>
                    <a:pt x="363" y="491"/>
                    <a:pt x="363" y="488"/>
                    <a:pt x="365" y="488"/>
                  </a:cubicBezTo>
                  <a:cubicBezTo>
                    <a:pt x="368" y="488"/>
                    <a:pt x="366" y="493"/>
                    <a:pt x="370" y="493"/>
                  </a:cubicBezTo>
                  <a:cubicBezTo>
                    <a:pt x="370" y="492"/>
                    <a:pt x="371" y="491"/>
                    <a:pt x="372" y="492"/>
                  </a:cubicBezTo>
                  <a:cubicBezTo>
                    <a:pt x="373" y="488"/>
                    <a:pt x="370" y="488"/>
                    <a:pt x="371" y="485"/>
                  </a:cubicBezTo>
                  <a:cubicBezTo>
                    <a:pt x="373" y="486"/>
                    <a:pt x="373" y="487"/>
                    <a:pt x="376" y="486"/>
                  </a:cubicBezTo>
                  <a:cubicBezTo>
                    <a:pt x="377" y="481"/>
                    <a:pt x="373" y="473"/>
                    <a:pt x="375" y="471"/>
                  </a:cubicBezTo>
                  <a:cubicBezTo>
                    <a:pt x="378" y="472"/>
                    <a:pt x="377" y="478"/>
                    <a:pt x="383" y="476"/>
                  </a:cubicBezTo>
                  <a:cubicBezTo>
                    <a:pt x="383" y="474"/>
                    <a:pt x="383" y="472"/>
                    <a:pt x="383" y="470"/>
                  </a:cubicBezTo>
                  <a:cubicBezTo>
                    <a:pt x="380" y="469"/>
                    <a:pt x="376" y="469"/>
                    <a:pt x="375" y="466"/>
                  </a:cubicBezTo>
                  <a:cubicBezTo>
                    <a:pt x="379" y="464"/>
                    <a:pt x="382" y="470"/>
                    <a:pt x="384" y="466"/>
                  </a:cubicBezTo>
                  <a:cubicBezTo>
                    <a:pt x="382" y="465"/>
                    <a:pt x="380" y="464"/>
                    <a:pt x="380" y="461"/>
                  </a:cubicBezTo>
                  <a:cubicBezTo>
                    <a:pt x="376" y="460"/>
                    <a:pt x="378" y="466"/>
                    <a:pt x="372" y="465"/>
                  </a:cubicBezTo>
                  <a:cubicBezTo>
                    <a:pt x="370" y="460"/>
                    <a:pt x="374" y="457"/>
                    <a:pt x="376" y="457"/>
                  </a:cubicBezTo>
                  <a:cubicBezTo>
                    <a:pt x="371" y="454"/>
                    <a:pt x="370" y="456"/>
                    <a:pt x="363" y="454"/>
                  </a:cubicBezTo>
                  <a:cubicBezTo>
                    <a:pt x="363" y="459"/>
                    <a:pt x="371" y="459"/>
                    <a:pt x="367" y="463"/>
                  </a:cubicBezTo>
                  <a:cubicBezTo>
                    <a:pt x="364" y="463"/>
                    <a:pt x="360" y="456"/>
                    <a:pt x="357" y="459"/>
                  </a:cubicBezTo>
                  <a:cubicBezTo>
                    <a:pt x="361" y="461"/>
                    <a:pt x="352" y="461"/>
                    <a:pt x="352" y="459"/>
                  </a:cubicBezTo>
                  <a:cubicBezTo>
                    <a:pt x="350" y="464"/>
                    <a:pt x="355" y="462"/>
                    <a:pt x="354" y="466"/>
                  </a:cubicBezTo>
                  <a:cubicBezTo>
                    <a:pt x="351" y="462"/>
                    <a:pt x="351" y="467"/>
                    <a:pt x="349" y="468"/>
                  </a:cubicBezTo>
                  <a:cubicBezTo>
                    <a:pt x="340" y="467"/>
                    <a:pt x="335" y="460"/>
                    <a:pt x="330" y="462"/>
                  </a:cubicBezTo>
                  <a:cubicBezTo>
                    <a:pt x="331" y="462"/>
                    <a:pt x="331" y="465"/>
                    <a:pt x="332" y="466"/>
                  </a:cubicBezTo>
                  <a:cubicBezTo>
                    <a:pt x="325" y="464"/>
                    <a:pt x="328" y="472"/>
                    <a:pt x="323" y="472"/>
                  </a:cubicBezTo>
                  <a:cubicBezTo>
                    <a:pt x="320" y="472"/>
                    <a:pt x="325" y="469"/>
                    <a:pt x="321" y="468"/>
                  </a:cubicBezTo>
                  <a:cubicBezTo>
                    <a:pt x="319" y="472"/>
                    <a:pt x="317" y="476"/>
                    <a:pt x="310" y="475"/>
                  </a:cubicBezTo>
                  <a:cubicBezTo>
                    <a:pt x="309" y="480"/>
                    <a:pt x="302" y="496"/>
                    <a:pt x="293" y="483"/>
                  </a:cubicBezTo>
                  <a:cubicBezTo>
                    <a:pt x="294" y="486"/>
                    <a:pt x="291" y="487"/>
                    <a:pt x="290" y="488"/>
                  </a:cubicBezTo>
                  <a:cubicBezTo>
                    <a:pt x="291" y="484"/>
                    <a:pt x="288" y="484"/>
                    <a:pt x="288" y="481"/>
                  </a:cubicBezTo>
                  <a:cubicBezTo>
                    <a:pt x="290" y="481"/>
                    <a:pt x="292" y="480"/>
                    <a:pt x="292" y="479"/>
                  </a:cubicBezTo>
                  <a:cubicBezTo>
                    <a:pt x="287" y="482"/>
                    <a:pt x="281" y="480"/>
                    <a:pt x="277" y="479"/>
                  </a:cubicBezTo>
                  <a:cubicBezTo>
                    <a:pt x="277" y="478"/>
                    <a:pt x="277" y="477"/>
                    <a:pt x="277" y="476"/>
                  </a:cubicBezTo>
                  <a:cubicBezTo>
                    <a:pt x="280" y="479"/>
                    <a:pt x="285" y="474"/>
                    <a:pt x="283" y="472"/>
                  </a:cubicBezTo>
                  <a:cubicBezTo>
                    <a:pt x="282" y="475"/>
                    <a:pt x="274" y="476"/>
                    <a:pt x="270" y="474"/>
                  </a:cubicBezTo>
                  <a:cubicBezTo>
                    <a:pt x="270" y="471"/>
                    <a:pt x="272" y="471"/>
                    <a:pt x="273" y="470"/>
                  </a:cubicBezTo>
                  <a:cubicBezTo>
                    <a:pt x="268" y="468"/>
                    <a:pt x="267" y="471"/>
                    <a:pt x="265" y="468"/>
                  </a:cubicBezTo>
                  <a:cubicBezTo>
                    <a:pt x="270" y="467"/>
                    <a:pt x="268" y="459"/>
                    <a:pt x="274" y="459"/>
                  </a:cubicBezTo>
                  <a:cubicBezTo>
                    <a:pt x="274" y="467"/>
                    <a:pt x="279" y="457"/>
                    <a:pt x="279" y="461"/>
                  </a:cubicBezTo>
                  <a:cubicBezTo>
                    <a:pt x="276" y="462"/>
                    <a:pt x="277" y="467"/>
                    <a:pt x="274" y="468"/>
                  </a:cubicBezTo>
                  <a:cubicBezTo>
                    <a:pt x="276" y="469"/>
                    <a:pt x="279" y="465"/>
                    <a:pt x="281" y="468"/>
                  </a:cubicBezTo>
                  <a:cubicBezTo>
                    <a:pt x="281" y="470"/>
                    <a:pt x="279" y="470"/>
                    <a:pt x="281" y="471"/>
                  </a:cubicBezTo>
                  <a:cubicBezTo>
                    <a:pt x="284" y="467"/>
                    <a:pt x="281" y="463"/>
                    <a:pt x="282" y="462"/>
                  </a:cubicBezTo>
                  <a:cubicBezTo>
                    <a:pt x="283" y="464"/>
                    <a:pt x="285" y="464"/>
                    <a:pt x="284" y="468"/>
                  </a:cubicBezTo>
                  <a:cubicBezTo>
                    <a:pt x="289" y="467"/>
                    <a:pt x="289" y="461"/>
                    <a:pt x="295" y="461"/>
                  </a:cubicBezTo>
                  <a:cubicBezTo>
                    <a:pt x="295" y="462"/>
                    <a:pt x="295" y="464"/>
                    <a:pt x="296" y="465"/>
                  </a:cubicBezTo>
                  <a:cubicBezTo>
                    <a:pt x="296" y="461"/>
                    <a:pt x="296" y="458"/>
                    <a:pt x="299" y="458"/>
                  </a:cubicBezTo>
                  <a:cubicBezTo>
                    <a:pt x="300" y="467"/>
                    <a:pt x="295" y="469"/>
                    <a:pt x="293" y="474"/>
                  </a:cubicBezTo>
                  <a:cubicBezTo>
                    <a:pt x="300" y="473"/>
                    <a:pt x="307" y="457"/>
                    <a:pt x="300" y="454"/>
                  </a:cubicBezTo>
                  <a:cubicBezTo>
                    <a:pt x="304" y="452"/>
                    <a:pt x="305" y="455"/>
                    <a:pt x="310" y="453"/>
                  </a:cubicBezTo>
                  <a:cubicBezTo>
                    <a:pt x="311" y="458"/>
                    <a:pt x="315" y="460"/>
                    <a:pt x="318" y="463"/>
                  </a:cubicBezTo>
                  <a:cubicBezTo>
                    <a:pt x="319" y="459"/>
                    <a:pt x="316" y="459"/>
                    <a:pt x="317" y="456"/>
                  </a:cubicBezTo>
                  <a:cubicBezTo>
                    <a:pt x="321" y="458"/>
                    <a:pt x="318" y="453"/>
                    <a:pt x="322" y="452"/>
                  </a:cubicBezTo>
                  <a:cubicBezTo>
                    <a:pt x="332" y="449"/>
                    <a:pt x="335" y="460"/>
                    <a:pt x="345" y="459"/>
                  </a:cubicBezTo>
                  <a:cubicBezTo>
                    <a:pt x="345" y="456"/>
                    <a:pt x="345" y="455"/>
                    <a:pt x="348" y="454"/>
                  </a:cubicBezTo>
                  <a:cubicBezTo>
                    <a:pt x="348" y="456"/>
                    <a:pt x="354" y="460"/>
                    <a:pt x="355" y="457"/>
                  </a:cubicBezTo>
                  <a:cubicBezTo>
                    <a:pt x="353" y="456"/>
                    <a:pt x="351" y="455"/>
                    <a:pt x="352" y="450"/>
                  </a:cubicBezTo>
                  <a:cubicBezTo>
                    <a:pt x="357" y="455"/>
                    <a:pt x="356" y="446"/>
                    <a:pt x="357" y="445"/>
                  </a:cubicBezTo>
                  <a:cubicBezTo>
                    <a:pt x="360" y="446"/>
                    <a:pt x="364" y="447"/>
                    <a:pt x="368" y="449"/>
                  </a:cubicBezTo>
                  <a:cubicBezTo>
                    <a:pt x="369" y="448"/>
                    <a:pt x="368" y="445"/>
                    <a:pt x="370" y="445"/>
                  </a:cubicBezTo>
                  <a:cubicBezTo>
                    <a:pt x="371" y="446"/>
                    <a:pt x="370" y="450"/>
                    <a:pt x="372" y="450"/>
                  </a:cubicBezTo>
                  <a:cubicBezTo>
                    <a:pt x="374" y="445"/>
                    <a:pt x="384" y="441"/>
                    <a:pt x="380" y="435"/>
                  </a:cubicBezTo>
                  <a:cubicBezTo>
                    <a:pt x="377" y="436"/>
                    <a:pt x="379" y="442"/>
                    <a:pt x="375" y="441"/>
                  </a:cubicBezTo>
                  <a:cubicBezTo>
                    <a:pt x="375" y="432"/>
                    <a:pt x="380" y="436"/>
                    <a:pt x="384" y="431"/>
                  </a:cubicBezTo>
                  <a:cubicBezTo>
                    <a:pt x="382" y="428"/>
                    <a:pt x="379" y="432"/>
                    <a:pt x="379" y="430"/>
                  </a:cubicBezTo>
                  <a:cubicBezTo>
                    <a:pt x="383" y="426"/>
                    <a:pt x="380" y="424"/>
                    <a:pt x="384" y="419"/>
                  </a:cubicBezTo>
                  <a:close/>
                  <a:moveTo>
                    <a:pt x="119" y="437"/>
                  </a:moveTo>
                  <a:cubicBezTo>
                    <a:pt x="123" y="436"/>
                    <a:pt x="130" y="438"/>
                    <a:pt x="132" y="434"/>
                  </a:cubicBezTo>
                  <a:cubicBezTo>
                    <a:pt x="127" y="435"/>
                    <a:pt x="121" y="435"/>
                    <a:pt x="119" y="430"/>
                  </a:cubicBezTo>
                  <a:cubicBezTo>
                    <a:pt x="119" y="436"/>
                    <a:pt x="108" y="430"/>
                    <a:pt x="110" y="434"/>
                  </a:cubicBezTo>
                  <a:cubicBezTo>
                    <a:pt x="113" y="435"/>
                    <a:pt x="119" y="433"/>
                    <a:pt x="119" y="437"/>
                  </a:cubicBezTo>
                  <a:close/>
                  <a:moveTo>
                    <a:pt x="163" y="456"/>
                  </a:moveTo>
                  <a:cubicBezTo>
                    <a:pt x="161" y="452"/>
                    <a:pt x="161" y="448"/>
                    <a:pt x="160" y="444"/>
                  </a:cubicBezTo>
                  <a:cubicBezTo>
                    <a:pt x="161" y="444"/>
                    <a:pt x="165" y="447"/>
                    <a:pt x="165" y="444"/>
                  </a:cubicBezTo>
                  <a:cubicBezTo>
                    <a:pt x="161" y="440"/>
                    <a:pt x="160" y="433"/>
                    <a:pt x="154" y="430"/>
                  </a:cubicBezTo>
                  <a:cubicBezTo>
                    <a:pt x="158" y="436"/>
                    <a:pt x="158" y="452"/>
                    <a:pt x="163" y="456"/>
                  </a:cubicBezTo>
                  <a:close/>
                  <a:moveTo>
                    <a:pt x="306" y="470"/>
                  </a:moveTo>
                  <a:cubicBezTo>
                    <a:pt x="306" y="467"/>
                    <a:pt x="307" y="465"/>
                    <a:pt x="309" y="465"/>
                  </a:cubicBezTo>
                  <a:cubicBezTo>
                    <a:pt x="309" y="468"/>
                    <a:pt x="311" y="470"/>
                    <a:pt x="314" y="470"/>
                  </a:cubicBezTo>
                  <a:cubicBezTo>
                    <a:pt x="310" y="465"/>
                    <a:pt x="315" y="457"/>
                    <a:pt x="306" y="456"/>
                  </a:cubicBezTo>
                  <a:cubicBezTo>
                    <a:pt x="305" y="459"/>
                    <a:pt x="302" y="467"/>
                    <a:pt x="306" y="470"/>
                  </a:cubicBezTo>
                  <a:close/>
                  <a:moveTo>
                    <a:pt x="149" y="475"/>
                  </a:moveTo>
                  <a:cubicBezTo>
                    <a:pt x="143" y="481"/>
                    <a:pt x="139" y="489"/>
                    <a:pt x="144" y="498"/>
                  </a:cubicBezTo>
                  <a:cubicBezTo>
                    <a:pt x="157" y="492"/>
                    <a:pt x="156" y="466"/>
                    <a:pt x="144" y="459"/>
                  </a:cubicBezTo>
                  <a:cubicBezTo>
                    <a:pt x="143" y="466"/>
                    <a:pt x="149" y="468"/>
                    <a:pt x="149" y="475"/>
                  </a:cubicBezTo>
                  <a:close/>
                  <a:moveTo>
                    <a:pt x="293" y="517"/>
                  </a:moveTo>
                  <a:cubicBezTo>
                    <a:pt x="296" y="518"/>
                    <a:pt x="298" y="517"/>
                    <a:pt x="299" y="515"/>
                  </a:cubicBezTo>
                  <a:cubicBezTo>
                    <a:pt x="293" y="514"/>
                    <a:pt x="296" y="507"/>
                    <a:pt x="292" y="502"/>
                  </a:cubicBezTo>
                  <a:cubicBezTo>
                    <a:pt x="290" y="508"/>
                    <a:pt x="292" y="510"/>
                    <a:pt x="293" y="517"/>
                  </a:cubicBezTo>
                  <a:close/>
                  <a:moveTo>
                    <a:pt x="25" y="639"/>
                  </a:moveTo>
                  <a:cubicBezTo>
                    <a:pt x="26" y="635"/>
                    <a:pt x="33" y="637"/>
                    <a:pt x="31" y="630"/>
                  </a:cubicBezTo>
                  <a:cubicBezTo>
                    <a:pt x="28" y="630"/>
                    <a:pt x="26" y="630"/>
                    <a:pt x="23" y="630"/>
                  </a:cubicBezTo>
                  <a:cubicBezTo>
                    <a:pt x="24" y="632"/>
                    <a:pt x="22" y="638"/>
                    <a:pt x="25" y="639"/>
                  </a:cubicBezTo>
                  <a:close/>
                  <a:moveTo>
                    <a:pt x="35" y="639"/>
                  </a:moveTo>
                  <a:cubicBezTo>
                    <a:pt x="36" y="634"/>
                    <a:pt x="42" y="641"/>
                    <a:pt x="43" y="637"/>
                  </a:cubicBezTo>
                  <a:cubicBezTo>
                    <a:pt x="40" y="635"/>
                    <a:pt x="42" y="629"/>
                    <a:pt x="36" y="630"/>
                  </a:cubicBezTo>
                  <a:cubicBezTo>
                    <a:pt x="38" y="634"/>
                    <a:pt x="31" y="636"/>
                    <a:pt x="35" y="6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5" name="Freeform 451"/>
            <p:cNvSpPr>
              <a:spLocks/>
            </p:cNvSpPr>
            <p:nvPr/>
          </p:nvSpPr>
          <p:spPr bwMode="auto">
            <a:xfrm>
              <a:off x="7589838" y="2498726"/>
              <a:ext cx="36513" cy="68263"/>
            </a:xfrm>
            <a:custGeom>
              <a:avLst/>
              <a:gdLst>
                <a:gd name="T0" fmla="*/ 13 w 13"/>
                <a:gd name="T1" fmla="*/ 14 h 24"/>
                <a:gd name="T2" fmla="*/ 0 w 13"/>
                <a:gd name="T3" fmla="*/ 0 h 24"/>
                <a:gd name="T4" fmla="*/ 13 w 13"/>
                <a:gd name="T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4">
                  <a:moveTo>
                    <a:pt x="13" y="14"/>
                  </a:moveTo>
                  <a:cubicBezTo>
                    <a:pt x="8" y="24"/>
                    <a:pt x="2" y="7"/>
                    <a:pt x="0" y="0"/>
                  </a:cubicBezTo>
                  <a:cubicBezTo>
                    <a:pt x="5" y="5"/>
                    <a:pt x="6" y="13"/>
                    <a:pt x="1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6" name="Freeform 452"/>
            <p:cNvSpPr>
              <a:spLocks/>
            </p:cNvSpPr>
            <p:nvPr/>
          </p:nvSpPr>
          <p:spPr bwMode="auto">
            <a:xfrm>
              <a:off x="7637463" y="2571751"/>
              <a:ext cx="28575" cy="23813"/>
            </a:xfrm>
            <a:custGeom>
              <a:avLst/>
              <a:gdLst>
                <a:gd name="T0" fmla="*/ 9 w 10"/>
                <a:gd name="T1" fmla="*/ 6 h 8"/>
                <a:gd name="T2" fmla="*/ 0 w 10"/>
                <a:gd name="T3" fmla="*/ 0 h 8"/>
                <a:gd name="T4" fmla="*/ 9 w 10"/>
                <a:gd name="T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9" y="6"/>
                  </a:moveTo>
                  <a:cubicBezTo>
                    <a:pt x="4" y="5"/>
                    <a:pt x="1" y="8"/>
                    <a:pt x="0" y="0"/>
                  </a:cubicBezTo>
                  <a:cubicBezTo>
                    <a:pt x="5" y="0"/>
                    <a:pt x="10" y="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7" name="Freeform 453"/>
            <p:cNvSpPr>
              <a:spLocks noEditPoints="1"/>
            </p:cNvSpPr>
            <p:nvPr/>
          </p:nvSpPr>
          <p:spPr bwMode="auto">
            <a:xfrm>
              <a:off x="7737475" y="1265238"/>
              <a:ext cx="481013" cy="323850"/>
            </a:xfrm>
            <a:custGeom>
              <a:avLst/>
              <a:gdLst>
                <a:gd name="T0" fmla="*/ 37 w 170"/>
                <a:gd name="T1" fmla="*/ 25 h 114"/>
                <a:gd name="T2" fmla="*/ 84 w 170"/>
                <a:gd name="T3" fmla="*/ 21 h 114"/>
                <a:gd name="T4" fmla="*/ 70 w 170"/>
                <a:gd name="T5" fmla="*/ 18 h 114"/>
                <a:gd name="T6" fmla="*/ 121 w 170"/>
                <a:gd name="T7" fmla="*/ 31 h 114"/>
                <a:gd name="T8" fmla="*/ 151 w 170"/>
                <a:gd name="T9" fmla="*/ 114 h 114"/>
                <a:gd name="T10" fmla="*/ 140 w 170"/>
                <a:gd name="T11" fmla="*/ 83 h 114"/>
                <a:gd name="T12" fmla="*/ 137 w 170"/>
                <a:gd name="T13" fmla="*/ 96 h 114"/>
                <a:gd name="T14" fmla="*/ 54 w 170"/>
                <a:gd name="T15" fmla="*/ 38 h 114"/>
                <a:gd name="T16" fmla="*/ 41 w 170"/>
                <a:gd name="T17" fmla="*/ 69 h 114"/>
                <a:gd name="T18" fmla="*/ 49 w 170"/>
                <a:gd name="T19" fmla="*/ 42 h 114"/>
                <a:gd name="T20" fmla="*/ 26 w 170"/>
                <a:gd name="T21" fmla="*/ 63 h 114"/>
                <a:gd name="T22" fmla="*/ 26 w 170"/>
                <a:gd name="T23" fmla="*/ 56 h 114"/>
                <a:gd name="T24" fmla="*/ 21 w 170"/>
                <a:gd name="T25" fmla="*/ 63 h 114"/>
                <a:gd name="T26" fmla="*/ 21 w 170"/>
                <a:gd name="T27" fmla="*/ 45 h 114"/>
                <a:gd name="T28" fmla="*/ 17 w 170"/>
                <a:gd name="T29" fmla="*/ 32 h 114"/>
                <a:gd name="T30" fmla="*/ 0 w 170"/>
                <a:gd name="T31" fmla="*/ 74 h 114"/>
                <a:gd name="T32" fmla="*/ 15 w 170"/>
                <a:gd name="T33" fmla="*/ 23 h 114"/>
                <a:gd name="T34" fmla="*/ 6 w 170"/>
                <a:gd name="T35" fmla="*/ 24 h 114"/>
                <a:gd name="T36" fmla="*/ 40 w 170"/>
                <a:gd name="T37" fmla="*/ 2 h 114"/>
                <a:gd name="T38" fmla="*/ 67 w 170"/>
                <a:gd name="T39" fmla="*/ 3 h 114"/>
                <a:gd name="T40" fmla="*/ 58 w 170"/>
                <a:gd name="T41" fmla="*/ 10 h 114"/>
                <a:gd name="T42" fmla="*/ 37 w 170"/>
                <a:gd name="T43" fmla="*/ 25 h 114"/>
                <a:gd name="T44" fmla="*/ 19 w 170"/>
                <a:gd name="T45" fmla="*/ 29 h 114"/>
                <a:gd name="T46" fmla="*/ 46 w 170"/>
                <a:gd name="T47" fmla="*/ 7 h 114"/>
                <a:gd name="T48" fmla="*/ 19 w 170"/>
                <a:gd name="T49" fmla="*/ 29 h 114"/>
                <a:gd name="T50" fmla="*/ 28 w 170"/>
                <a:gd name="T51" fmla="*/ 42 h 114"/>
                <a:gd name="T52" fmla="*/ 61 w 170"/>
                <a:gd name="T53" fmla="*/ 28 h 114"/>
                <a:gd name="T54" fmla="*/ 58 w 170"/>
                <a:gd name="T55" fmla="*/ 25 h 114"/>
                <a:gd name="T56" fmla="*/ 62 w 170"/>
                <a:gd name="T57" fmla="*/ 24 h 114"/>
                <a:gd name="T58" fmla="*/ 28 w 170"/>
                <a:gd name="T59" fmla="*/ 42 h 114"/>
                <a:gd name="T60" fmla="*/ 143 w 170"/>
                <a:gd name="T61" fmla="*/ 76 h 114"/>
                <a:gd name="T62" fmla="*/ 133 w 170"/>
                <a:gd name="T63" fmla="*/ 56 h 114"/>
                <a:gd name="T64" fmla="*/ 143 w 170"/>
                <a:gd name="T6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14">
                  <a:moveTo>
                    <a:pt x="37" y="25"/>
                  </a:moveTo>
                  <a:cubicBezTo>
                    <a:pt x="47" y="19"/>
                    <a:pt x="64" y="17"/>
                    <a:pt x="84" y="21"/>
                  </a:cubicBezTo>
                  <a:cubicBezTo>
                    <a:pt x="80" y="19"/>
                    <a:pt x="76" y="17"/>
                    <a:pt x="70" y="18"/>
                  </a:cubicBezTo>
                  <a:cubicBezTo>
                    <a:pt x="90" y="9"/>
                    <a:pt x="106" y="26"/>
                    <a:pt x="121" y="31"/>
                  </a:cubicBezTo>
                  <a:cubicBezTo>
                    <a:pt x="139" y="49"/>
                    <a:pt x="170" y="81"/>
                    <a:pt x="151" y="114"/>
                  </a:cubicBezTo>
                  <a:cubicBezTo>
                    <a:pt x="143" y="108"/>
                    <a:pt x="146" y="92"/>
                    <a:pt x="140" y="83"/>
                  </a:cubicBezTo>
                  <a:cubicBezTo>
                    <a:pt x="136" y="85"/>
                    <a:pt x="137" y="91"/>
                    <a:pt x="137" y="96"/>
                  </a:cubicBezTo>
                  <a:cubicBezTo>
                    <a:pt x="132" y="56"/>
                    <a:pt x="96" y="25"/>
                    <a:pt x="54" y="38"/>
                  </a:cubicBezTo>
                  <a:cubicBezTo>
                    <a:pt x="46" y="45"/>
                    <a:pt x="50" y="63"/>
                    <a:pt x="41" y="69"/>
                  </a:cubicBezTo>
                  <a:cubicBezTo>
                    <a:pt x="43" y="56"/>
                    <a:pt x="39" y="52"/>
                    <a:pt x="49" y="42"/>
                  </a:cubicBezTo>
                  <a:cubicBezTo>
                    <a:pt x="40" y="43"/>
                    <a:pt x="30" y="54"/>
                    <a:pt x="26" y="63"/>
                  </a:cubicBezTo>
                  <a:cubicBezTo>
                    <a:pt x="23" y="66"/>
                    <a:pt x="27" y="59"/>
                    <a:pt x="26" y="56"/>
                  </a:cubicBezTo>
                  <a:cubicBezTo>
                    <a:pt x="23" y="57"/>
                    <a:pt x="23" y="61"/>
                    <a:pt x="21" y="63"/>
                  </a:cubicBezTo>
                  <a:cubicBezTo>
                    <a:pt x="18" y="56"/>
                    <a:pt x="16" y="51"/>
                    <a:pt x="21" y="45"/>
                  </a:cubicBezTo>
                  <a:cubicBezTo>
                    <a:pt x="15" y="47"/>
                    <a:pt x="19" y="39"/>
                    <a:pt x="17" y="32"/>
                  </a:cubicBezTo>
                  <a:cubicBezTo>
                    <a:pt x="11" y="46"/>
                    <a:pt x="5" y="60"/>
                    <a:pt x="0" y="74"/>
                  </a:cubicBezTo>
                  <a:cubicBezTo>
                    <a:pt x="0" y="57"/>
                    <a:pt x="9" y="37"/>
                    <a:pt x="15" y="23"/>
                  </a:cubicBezTo>
                  <a:cubicBezTo>
                    <a:pt x="14" y="20"/>
                    <a:pt x="10" y="25"/>
                    <a:pt x="6" y="24"/>
                  </a:cubicBezTo>
                  <a:cubicBezTo>
                    <a:pt x="16" y="15"/>
                    <a:pt x="29" y="10"/>
                    <a:pt x="40" y="2"/>
                  </a:cubicBezTo>
                  <a:cubicBezTo>
                    <a:pt x="46" y="10"/>
                    <a:pt x="62" y="0"/>
                    <a:pt x="67" y="3"/>
                  </a:cubicBezTo>
                  <a:cubicBezTo>
                    <a:pt x="63" y="4"/>
                    <a:pt x="61" y="8"/>
                    <a:pt x="58" y="10"/>
                  </a:cubicBezTo>
                  <a:cubicBezTo>
                    <a:pt x="55" y="6"/>
                    <a:pt x="42" y="18"/>
                    <a:pt x="37" y="25"/>
                  </a:cubicBezTo>
                  <a:close/>
                  <a:moveTo>
                    <a:pt x="19" y="29"/>
                  </a:moveTo>
                  <a:cubicBezTo>
                    <a:pt x="24" y="18"/>
                    <a:pt x="41" y="18"/>
                    <a:pt x="46" y="7"/>
                  </a:cubicBezTo>
                  <a:cubicBezTo>
                    <a:pt x="33" y="5"/>
                    <a:pt x="22" y="19"/>
                    <a:pt x="19" y="29"/>
                  </a:cubicBezTo>
                  <a:close/>
                  <a:moveTo>
                    <a:pt x="28" y="42"/>
                  </a:moveTo>
                  <a:cubicBezTo>
                    <a:pt x="41" y="39"/>
                    <a:pt x="49" y="32"/>
                    <a:pt x="61" y="28"/>
                  </a:cubicBezTo>
                  <a:cubicBezTo>
                    <a:pt x="59" y="28"/>
                    <a:pt x="58" y="28"/>
                    <a:pt x="58" y="25"/>
                  </a:cubicBezTo>
                  <a:cubicBezTo>
                    <a:pt x="60" y="25"/>
                    <a:pt x="62" y="26"/>
                    <a:pt x="62" y="24"/>
                  </a:cubicBezTo>
                  <a:cubicBezTo>
                    <a:pt x="44" y="24"/>
                    <a:pt x="32" y="28"/>
                    <a:pt x="28" y="42"/>
                  </a:cubicBezTo>
                  <a:close/>
                  <a:moveTo>
                    <a:pt x="143" y="76"/>
                  </a:moveTo>
                  <a:cubicBezTo>
                    <a:pt x="141" y="68"/>
                    <a:pt x="140" y="59"/>
                    <a:pt x="133" y="56"/>
                  </a:cubicBezTo>
                  <a:cubicBezTo>
                    <a:pt x="135" y="64"/>
                    <a:pt x="139" y="71"/>
                    <a:pt x="14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8" name="Freeform 454"/>
            <p:cNvSpPr>
              <a:spLocks/>
            </p:cNvSpPr>
            <p:nvPr/>
          </p:nvSpPr>
          <p:spPr bwMode="auto">
            <a:xfrm>
              <a:off x="7270750" y="1603376"/>
              <a:ext cx="23813" cy="50800"/>
            </a:xfrm>
            <a:custGeom>
              <a:avLst/>
              <a:gdLst>
                <a:gd name="T0" fmla="*/ 8 w 8"/>
                <a:gd name="T1" fmla="*/ 0 h 18"/>
                <a:gd name="T2" fmla="*/ 1 w 8"/>
                <a:gd name="T3" fmla="*/ 18 h 18"/>
                <a:gd name="T4" fmla="*/ 5 w 8"/>
                <a:gd name="T5" fmla="*/ 7 h 18"/>
                <a:gd name="T6" fmla="*/ 2 w 8"/>
                <a:gd name="T7" fmla="*/ 6 h 18"/>
                <a:gd name="T8" fmla="*/ 8 w 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8" y="0"/>
                  </a:moveTo>
                  <a:cubicBezTo>
                    <a:pt x="5" y="6"/>
                    <a:pt x="7" y="16"/>
                    <a:pt x="1" y="18"/>
                  </a:cubicBezTo>
                  <a:cubicBezTo>
                    <a:pt x="3" y="15"/>
                    <a:pt x="2" y="9"/>
                    <a:pt x="5" y="7"/>
                  </a:cubicBezTo>
                  <a:cubicBezTo>
                    <a:pt x="5" y="5"/>
                    <a:pt x="3" y="4"/>
                    <a:pt x="2" y="6"/>
                  </a:cubicBezTo>
                  <a:cubicBezTo>
                    <a:pt x="0" y="5"/>
                    <a:pt x="5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9" name="Freeform 455"/>
            <p:cNvSpPr>
              <a:spLocks/>
            </p:cNvSpPr>
            <p:nvPr/>
          </p:nvSpPr>
          <p:spPr bwMode="auto">
            <a:xfrm>
              <a:off x="8224838" y="1690688"/>
              <a:ext cx="123825" cy="309563"/>
            </a:xfrm>
            <a:custGeom>
              <a:avLst/>
              <a:gdLst>
                <a:gd name="T0" fmla="*/ 37 w 44"/>
                <a:gd name="T1" fmla="*/ 57 h 109"/>
                <a:gd name="T2" fmla="*/ 37 w 44"/>
                <a:gd name="T3" fmla="*/ 47 h 109"/>
                <a:gd name="T4" fmla="*/ 43 w 44"/>
                <a:gd name="T5" fmla="*/ 109 h 109"/>
                <a:gd name="T6" fmla="*/ 28 w 44"/>
                <a:gd name="T7" fmla="*/ 57 h 109"/>
                <a:gd name="T8" fmla="*/ 12 w 44"/>
                <a:gd name="T9" fmla="*/ 24 h 109"/>
                <a:gd name="T10" fmla="*/ 17 w 44"/>
                <a:gd name="T11" fmla="*/ 25 h 109"/>
                <a:gd name="T12" fmla="*/ 8 w 44"/>
                <a:gd name="T13" fmla="*/ 0 h 109"/>
                <a:gd name="T14" fmla="*/ 36 w 44"/>
                <a:gd name="T15" fmla="*/ 38 h 109"/>
                <a:gd name="T16" fmla="*/ 37 w 44"/>
                <a:gd name="T17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09">
                  <a:moveTo>
                    <a:pt x="37" y="57"/>
                  </a:moveTo>
                  <a:cubicBezTo>
                    <a:pt x="41" y="55"/>
                    <a:pt x="36" y="51"/>
                    <a:pt x="37" y="47"/>
                  </a:cubicBezTo>
                  <a:cubicBezTo>
                    <a:pt x="41" y="62"/>
                    <a:pt x="44" y="86"/>
                    <a:pt x="43" y="109"/>
                  </a:cubicBezTo>
                  <a:cubicBezTo>
                    <a:pt x="31" y="98"/>
                    <a:pt x="32" y="76"/>
                    <a:pt x="28" y="57"/>
                  </a:cubicBezTo>
                  <a:cubicBezTo>
                    <a:pt x="23" y="51"/>
                    <a:pt x="10" y="37"/>
                    <a:pt x="12" y="24"/>
                  </a:cubicBezTo>
                  <a:cubicBezTo>
                    <a:pt x="14" y="23"/>
                    <a:pt x="15" y="24"/>
                    <a:pt x="17" y="25"/>
                  </a:cubicBezTo>
                  <a:cubicBezTo>
                    <a:pt x="14" y="16"/>
                    <a:pt x="0" y="11"/>
                    <a:pt x="8" y="0"/>
                  </a:cubicBezTo>
                  <a:cubicBezTo>
                    <a:pt x="24" y="12"/>
                    <a:pt x="30" y="21"/>
                    <a:pt x="36" y="38"/>
                  </a:cubicBezTo>
                  <a:cubicBezTo>
                    <a:pt x="29" y="37"/>
                    <a:pt x="36" y="51"/>
                    <a:pt x="37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0" name="Freeform 456"/>
            <p:cNvSpPr>
              <a:spLocks/>
            </p:cNvSpPr>
            <p:nvPr/>
          </p:nvSpPr>
          <p:spPr bwMode="auto">
            <a:xfrm>
              <a:off x="7872413" y="1846263"/>
              <a:ext cx="184150" cy="119063"/>
            </a:xfrm>
            <a:custGeom>
              <a:avLst/>
              <a:gdLst>
                <a:gd name="T0" fmla="*/ 42 w 65"/>
                <a:gd name="T1" fmla="*/ 6 h 42"/>
                <a:gd name="T2" fmla="*/ 49 w 65"/>
                <a:gd name="T3" fmla="*/ 9 h 42"/>
                <a:gd name="T4" fmla="*/ 64 w 65"/>
                <a:gd name="T5" fmla="*/ 0 h 42"/>
                <a:gd name="T6" fmla="*/ 59 w 65"/>
                <a:gd name="T7" fmla="*/ 12 h 42"/>
                <a:gd name="T8" fmla="*/ 2 w 65"/>
                <a:gd name="T9" fmla="*/ 42 h 42"/>
                <a:gd name="T10" fmla="*/ 1 w 65"/>
                <a:gd name="T11" fmla="*/ 27 h 42"/>
                <a:gd name="T12" fmla="*/ 11 w 65"/>
                <a:gd name="T13" fmla="*/ 15 h 42"/>
                <a:gd name="T14" fmla="*/ 18 w 65"/>
                <a:gd name="T15" fmla="*/ 18 h 42"/>
                <a:gd name="T16" fmla="*/ 24 w 65"/>
                <a:gd name="T17" fmla="*/ 7 h 42"/>
                <a:gd name="T18" fmla="*/ 35 w 65"/>
                <a:gd name="T19" fmla="*/ 7 h 42"/>
                <a:gd name="T20" fmla="*/ 31 w 65"/>
                <a:gd name="T21" fmla="*/ 14 h 42"/>
                <a:gd name="T22" fmla="*/ 42 w 65"/>
                <a:gd name="T23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2">
                  <a:moveTo>
                    <a:pt x="42" y="6"/>
                  </a:moveTo>
                  <a:cubicBezTo>
                    <a:pt x="42" y="5"/>
                    <a:pt x="50" y="5"/>
                    <a:pt x="49" y="9"/>
                  </a:cubicBezTo>
                  <a:cubicBezTo>
                    <a:pt x="53" y="5"/>
                    <a:pt x="59" y="2"/>
                    <a:pt x="64" y="0"/>
                  </a:cubicBezTo>
                  <a:cubicBezTo>
                    <a:pt x="65" y="5"/>
                    <a:pt x="51" y="8"/>
                    <a:pt x="59" y="12"/>
                  </a:cubicBezTo>
                  <a:cubicBezTo>
                    <a:pt x="41" y="23"/>
                    <a:pt x="14" y="25"/>
                    <a:pt x="2" y="42"/>
                  </a:cubicBezTo>
                  <a:cubicBezTo>
                    <a:pt x="3" y="36"/>
                    <a:pt x="0" y="33"/>
                    <a:pt x="1" y="27"/>
                  </a:cubicBezTo>
                  <a:cubicBezTo>
                    <a:pt x="7" y="25"/>
                    <a:pt x="14" y="22"/>
                    <a:pt x="11" y="15"/>
                  </a:cubicBezTo>
                  <a:cubicBezTo>
                    <a:pt x="14" y="16"/>
                    <a:pt x="17" y="16"/>
                    <a:pt x="18" y="18"/>
                  </a:cubicBezTo>
                  <a:cubicBezTo>
                    <a:pt x="22" y="16"/>
                    <a:pt x="21" y="10"/>
                    <a:pt x="24" y="7"/>
                  </a:cubicBezTo>
                  <a:cubicBezTo>
                    <a:pt x="29" y="8"/>
                    <a:pt x="32" y="4"/>
                    <a:pt x="35" y="7"/>
                  </a:cubicBezTo>
                  <a:cubicBezTo>
                    <a:pt x="34" y="10"/>
                    <a:pt x="29" y="9"/>
                    <a:pt x="31" y="14"/>
                  </a:cubicBezTo>
                  <a:cubicBezTo>
                    <a:pt x="32" y="10"/>
                    <a:pt x="45" y="10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1" name="Freeform 457"/>
            <p:cNvSpPr>
              <a:spLocks/>
            </p:cNvSpPr>
            <p:nvPr/>
          </p:nvSpPr>
          <p:spPr bwMode="auto">
            <a:xfrm>
              <a:off x="7478713" y="1889126"/>
              <a:ext cx="311150" cy="68263"/>
            </a:xfrm>
            <a:custGeom>
              <a:avLst/>
              <a:gdLst>
                <a:gd name="T0" fmla="*/ 12 w 110"/>
                <a:gd name="T1" fmla="*/ 1 h 24"/>
                <a:gd name="T2" fmla="*/ 13 w 110"/>
                <a:gd name="T3" fmla="*/ 5 h 24"/>
                <a:gd name="T4" fmla="*/ 26 w 110"/>
                <a:gd name="T5" fmla="*/ 3 h 24"/>
                <a:gd name="T6" fmla="*/ 42 w 110"/>
                <a:gd name="T7" fmla="*/ 4 h 24"/>
                <a:gd name="T8" fmla="*/ 43 w 110"/>
                <a:gd name="T9" fmla="*/ 9 h 24"/>
                <a:gd name="T10" fmla="*/ 57 w 110"/>
                <a:gd name="T11" fmla="*/ 9 h 24"/>
                <a:gd name="T12" fmla="*/ 72 w 110"/>
                <a:gd name="T13" fmla="*/ 9 h 24"/>
                <a:gd name="T14" fmla="*/ 74 w 110"/>
                <a:gd name="T15" fmla="*/ 5 h 24"/>
                <a:gd name="T16" fmla="*/ 79 w 110"/>
                <a:gd name="T17" fmla="*/ 10 h 24"/>
                <a:gd name="T18" fmla="*/ 77 w 110"/>
                <a:gd name="T19" fmla="*/ 9 h 24"/>
                <a:gd name="T20" fmla="*/ 110 w 110"/>
                <a:gd name="T21" fmla="*/ 24 h 24"/>
                <a:gd name="T22" fmla="*/ 11 w 110"/>
                <a:gd name="T23" fmla="*/ 22 h 24"/>
                <a:gd name="T24" fmla="*/ 7 w 110"/>
                <a:gd name="T25" fmla="*/ 18 h 24"/>
                <a:gd name="T26" fmla="*/ 15 w 110"/>
                <a:gd name="T27" fmla="*/ 13 h 24"/>
                <a:gd name="T28" fmla="*/ 11 w 110"/>
                <a:gd name="T29" fmla="*/ 10 h 24"/>
                <a:gd name="T30" fmla="*/ 0 w 110"/>
                <a:gd name="T31" fmla="*/ 12 h 24"/>
                <a:gd name="T32" fmla="*/ 13 w 110"/>
                <a:gd name="T33" fmla="*/ 8 h 24"/>
                <a:gd name="T34" fmla="*/ 12 w 110"/>
                <a:gd name="T3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4">
                  <a:moveTo>
                    <a:pt x="12" y="1"/>
                  </a:moveTo>
                  <a:cubicBezTo>
                    <a:pt x="16" y="0"/>
                    <a:pt x="14" y="4"/>
                    <a:pt x="13" y="5"/>
                  </a:cubicBezTo>
                  <a:cubicBezTo>
                    <a:pt x="19" y="3"/>
                    <a:pt x="22" y="6"/>
                    <a:pt x="26" y="3"/>
                  </a:cubicBezTo>
                  <a:cubicBezTo>
                    <a:pt x="30" y="6"/>
                    <a:pt x="37" y="5"/>
                    <a:pt x="42" y="4"/>
                  </a:cubicBezTo>
                  <a:cubicBezTo>
                    <a:pt x="44" y="4"/>
                    <a:pt x="43" y="7"/>
                    <a:pt x="43" y="9"/>
                  </a:cubicBezTo>
                  <a:cubicBezTo>
                    <a:pt x="46" y="6"/>
                    <a:pt x="53" y="2"/>
                    <a:pt x="57" y="9"/>
                  </a:cubicBezTo>
                  <a:cubicBezTo>
                    <a:pt x="59" y="2"/>
                    <a:pt x="66" y="10"/>
                    <a:pt x="72" y="9"/>
                  </a:cubicBezTo>
                  <a:cubicBezTo>
                    <a:pt x="75" y="9"/>
                    <a:pt x="68" y="4"/>
                    <a:pt x="74" y="5"/>
                  </a:cubicBezTo>
                  <a:cubicBezTo>
                    <a:pt x="80" y="4"/>
                    <a:pt x="71" y="12"/>
                    <a:pt x="79" y="10"/>
                  </a:cubicBezTo>
                  <a:cubicBezTo>
                    <a:pt x="79" y="9"/>
                    <a:pt x="78" y="9"/>
                    <a:pt x="77" y="9"/>
                  </a:cubicBezTo>
                  <a:cubicBezTo>
                    <a:pt x="87" y="11"/>
                    <a:pt x="104" y="12"/>
                    <a:pt x="110" y="24"/>
                  </a:cubicBezTo>
                  <a:cubicBezTo>
                    <a:pt x="82" y="21"/>
                    <a:pt x="40" y="16"/>
                    <a:pt x="11" y="22"/>
                  </a:cubicBezTo>
                  <a:cubicBezTo>
                    <a:pt x="8" y="20"/>
                    <a:pt x="13" y="17"/>
                    <a:pt x="7" y="18"/>
                  </a:cubicBezTo>
                  <a:cubicBezTo>
                    <a:pt x="9" y="16"/>
                    <a:pt x="15" y="18"/>
                    <a:pt x="15" y="13"/>
                  </a:cubicBezTo>
                  <a:cubicBezTo>
                    <a:pt x="13" y="10"/>
                    <a:pt x="8" y="18"/>
                    <a:pt x="11" y="10"/>
                  </a:cubicBezTo>
                  <a:cubicBezTo>
                    <a:pt x="6" y="11"/>
                    <a:pt x="5" y="14"/>
                    <a:pt x="0" y="12"/>
                  </a:cubicBezTo>
                  <a:cubicBezTo>
                    <a:pt x="0" y="6"/>
                    <a:pt x="10" y="5"/>
                    <a:pt x="13" y="8"/>
                  </a:cubicBezTo>
                  <a:cubicBezTo>
                    <a:pt x="14" y="5"/>
                    <a:pt x="11" y="5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2" name="Freeform 458"/>
            <p:cNvSpPr>
              <a:spLocks/>
            </p:cNvSpPr>
            <p:nvPr/>
          </p:nvSpPr>
          <p:spPr bwMode="auto">
            <a:xfrm>
              <a:off x="8258175" y="1906588"/>
              <a:ext cx="60325" cy="209550"/>
            </a:xfrm>
            <a:custGeom>
              <a:avLst/>
              <a:gdLst>
                <a:gd name="T0" fmla="*/ 2 w 21"/>
                <a:gd name="T1" fmla="*/ 0 h 74"/>
                <a:gd name="T2" fmla="*/ 19 w 21"/>
                <a:gd name="T3" fmla="*/ 55 h 74"/>
                <a:gd name="T4" fmla="*/ 9 w 21"/>
                <a:gd name="T5" fmla="*/ 74 h 74"/>
                <a:gd name="T6" fmla="*/ 15 w 21"/>
                <a:gd name="T7" fmla="*/ 42 h 74"/>
                <a:gd name="T8" fmla="*/ 7 w 21"/>
                <a:gd name="T9" fmla="*/ 18 h 74"/>
                <a:gd name="T10" fmla="*/ 0 w 21"/>
                <a:gd name="T11" fmla="*/ 15 h 74"/>
                <a:gd name="T12" fmla="*/ 0 w 21"/>
                <a:gd name="T13" fmla="*/ 11 h 74"/>
                <a:gd name="T14" fmla="*/ 6 w 21"/>
                <a:gd name="T15" fmla="*/ 12 h 74"/>
                <a:gd name="T16" fmla="*/ 2 w 21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74">
                  <a:moveTo>
                    <a:pt x="2" y="0"/>
                  </a:moveTo>
                  <a:cubicBezTo>
                    <a:pt x="11" y="15"/>
                    <a:pt x="21" y="29"/>
                    <a:pt x="19" y="55"/>
                  </a:cubicBezTo>
                  <a:cubicBezTo>
                    <a:pt x="12" y="44"/>
                    <a:pt x="11" y="68"/>
                    <a:pt x="9" y="74"/>
                  </a:cubicBezTo>
                  <a:cubicBezTo>
                    <a:pt x="0" y="64"/>
                    <a:pt x="14" y="53"/>
                    <a:pt x="15" y="42"/>
                  </a:cubicBezTo>
                  <a:cubicBezTo>
                    <a:pt x="16" y="32"/>
                    <a:pt x="7" y="25"/>
                    <a:pt x="7" y="18"/>
                  </a:cubicBezTo>
                  <a:cubicBezTo>
                    <a:pt x="6" y="18"/>
                    <a:pt x="3" y="16"/>
                    <a:pt x="0" y="15"/>
                  </a:cubicBezTo>
                  <a:cubicBezTo>
                    <a:pt x="0" y="14"/>
                    <a:pt x="2" y="11"/>
                    <a:pt x="0" y="11"/>
                  </a:cubicBezTo>
                  <a:cubicBezTo>
                    <a:pt x="0" y="8"/>
                    <a:pt x="3" y="13"/>
                    <a:pt x="6" y="12"/>
                  </a:cubicBezTo>
                  <a:cubicBezTo>
                    <a:pt x="7" y="6"/>
                    <a:pt x="1" y="7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3" name="Freeform 459"/>
            <p:cNvSpPr>
              <a:spLocks/>
            </p:cNvSpPr>
            <p:nvPr/>
          </p:nvSpPr>
          <p:spPr bwMode="auto">
            <a:xfrm>
              <a:off x="8153400" y="1924051"/>
              <a:ext cx="34925" cy="25400"/>
            </a:xfrm>
            <a:custGeom>
              <a:avLst/>
              <a:gdLst>
                <a:gd name="T0" fmla="*/ 12 w 12"/>
                <a:gd name="T1" fmla="*/ 0 h 9"/>
                <a:gd name="T2" fmla="*/ 12 w 12"/>
                <a:gd name="T3" fmla="*/ 3 h 9"/>
                <a:gd name="T4" fmla="*/ 9 w 12"/>
                <a:gd name="T5" fmla="*/ 9 h 9"/>
                <a:gd name="T6" fmla="*/ 0 w 12"/>
                <a:gd name="T7" fmla="*/ 0 h 9"/>
                <a:gd name="T8" fmla="*/ 12 w 1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12" y="2"/>
                    <a:pt x="4" y="4"/>
                    <a:pt x="12" y="3"/>
                  </a:cubicBezTo>
                  <a:cubicBezTo>
                    <a:pt x="11" y="5"/>
                    <a:pt x="10" y="7"/>
                    <a:pt x="9" y="9"/>
                  </a:cubicBezTo>
                  <a:cubicBezTo>
                    <a:pt x="5" y="7"/>
                    <a:pt x="1" y="5"/>
                    <a:pt x="0" y="0"/>
                  </a:cubicBezTo>
                  <a:cubicBezTo>
                    <a:pt x="6" y="2"/>
                    <a:pt x="7" y="2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4" name="Freeform 460"/>
            <p:cNvSpPr>
              <a:spLocks/>
            </p:cNvSpPr>
            <p:nvPr/>
          </p:nvSpPr>
          <p:spPr bwMode="auto">
            <a:xfrm>
              <a:off x="7483475" y="1978026"/>
              <a:ext cx="74613" cy="65088"/>
            </a:xfrm>
            <a:custGeom>
              <a:avLst/>
              <a:gdLst>
                <a:gd name="T0" fmla="*/ 26 w 26"/>
                <a:gd name="T1" fmla="*/ 0 h 23"/>
                <a:gd name="T2" fmla="*/ 0 w 26"/>
                <a:gd name="T3" fmla="*/ 23 h 23"/>
                <a:gd name="T4" fmla="*/ 26 w 26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3">
                  <a:moveTo>
                    <a:pt x="26" y="0"/>
                  </a:moveTo>
                  <a:cubicBezTo>
                    <a:pt x="16" y="6"/>
                    <a:pt x="10" y="17"/>
                    <a:pt x="0" y="23"/>
                  </a:cubicBezTo>
                  <a:cubicBezTo>
                    <a:pt x="7" y="14"/>
                    <a:pt x="11" y="2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5" name="Freeform 461"/>
            <p:cNvSpPr>
              <a:spLocks/>
            </p:cNvSpPr>
            <p:nvPr/>
          </p:nvSpPr>
          <p:spPr bwMode="auto">
            <a:xfrm>
              <a:off x="7745413" y="2133601"/>
              <a:ext cx="263525" cy="227013"/>
            </a:xfrm>
            <a:custGeom>
              <a:avLst/>
              <a:gdLst>
                <a:gd name="T0" fmla="*/ 64 w 93"/>
                <a:gd name="T1" fmla="*/ 43 h 80"/>
                <a:gd name="T2" fmla="*/ 68 w 93"/>
                <a:gd name="T3" fmla="*/ 52 h 80"/>
                <a:gd name="T4" fmla="*/ 69 w 93"/>
                <a:gd name="T5" fmla="*/ 47 h 80"/>
                <a:gd name="T6" fmla="*/ 73 w 93"/>
                <a:gd name="T7" fmla="*/ 44 h 80"/>
                <a:gd name="T8" fmla="*/ 77 w 93"/>
                <a:gd name="T9" fmla="*/ 61 h 80"/>
                <a:gd name="T10" fmla="*/ 78 w 93"/>
                <a:gd name="T11" fmla="*/ 56 h 80"/>
                <a:gd name="T12" fmla="*/ 76 w 93"/>
                <a:gd name="T13" fmla="*/ 53 h 80"/>
                <a:gd name="T14" fmla="*/ 73 w 93"/>
                <a:gd name="T15" fmla="*/ 58 h 80"/>
                <a:gd name="T16" fmla="*/ 77 w 93"/>
                <a:gd name="T17" fmla="*/ 62 h 80"/>
                <a:gd name="T18" fmla="*/ 59 w 93"/>
                <a:gd name="T19" fmla="*/ 74 h 80"/>
                <a:gd name="T20" fmla="*/ 59 w 93"/>
                <a:gd name="T21" fmla="*/ 69 h 80"/>
                <a:gd name="T22" fmla="*/ 65 w 93"/>
                <a:gd name="T23" fmla="*/ 58 h 80"/>
                <a:gd name="T24" fmla="*/ 58 w 93"/>
                <a:gd name="T25" fmla="*/ 45 h 80"/>
                <a:gd name="T26" fmla="*/ 40 w 93"/>
                <a:gd name="T27" fmla="*/ 44 h 80"/>
                <a:gd name="T28" fmla="*/ 36 w 93"/>
                <a:gd name="T29" fmla="*/ 51 h 80"/>
                <a:gd name="T30" fmla="*/ 45 w 93"/>
                <a:gd name="T31" fmla="*/ 49 h 80"/>
                <a:gd name="T32" fmla="*/ 51 w 93"/>
                <a:gd name="T33" fmla="*/ 54 h 80"/>
                <a:gd name="T34" fmla="*/ 54 w 93"/>
                <a:gd name="T35" fmla="*/ 58 h 80"/>
                <a:gd name="T36" fmla="*/ 58 w 93"/>
                <a:gd name="T37" fmla="*/ 67 h 80"/>
                <a:gd name="T38" fmla="*/ 40 w 93"/>
                <a:gd name="T39" fmla="*/ 73 h 80"/>
                <a:gd name="T40" fmla="*/ 20 w 93"/>
                <a:gd name="T41" fmla="*/ 73 h 80"/>
                <a:gd name="T42" fmla="*/ 16 w 93"/>
                <a:gd name="T43" fmla="*/ 76 h 80"/>
                <a:gd name="T44" fmla="*/ 24 w 93"/>
                <a:gd name="T45" fmla="*/ 73 h 80"/>
                <a:gd name="T46" fmla="*/ 29 w 93"/>
                <a:gd name="T47" fmla="*/ 70 h 80"/>
                <a:gd name="T48" fmla="*/ 25 w 93"/>
                <a:gd name="T49" fmla="*/ 65 h 80"/>
                <a:gd name="T50" fmla="*/ 20 w 93"/>
                <a:gd name="T51" fmla="*/ 70 h 80"/>
                <a:gd name="T52" fmla="*/ 19 w 93"/>
                <a:gd name="T53" fmla="*/ 67 h 80"/>
                <a:gd name="T54" fmla="*/ 20 w 93"/>
                <a:gd name="T55" fmla="*/ 61 h 80"/>
                <a:gd name="T56" fmla="*/ 16 w 93"/>
                <a:gd name="T57" fmla="*/ 65 h 80"/>
                <a:gd name="T58" fmla="*/ 16 w 93"/>
                <a:gd name="T59" fmla="*/ 52 h 80"/>
                <a:gd name="T60" fmla="*/ 11 w 93"/>
                <a:gd name="T61" fmla="*/ 60 h 80"/>
                <a:gd name="T62" fmla="*/ 9 w 93"/>
                <a:gd name="T63" fmla="*/ 64 h 80"/>
                <a:gd name="T64" fmla="*/ 5 w 93"/>
                <a:gd name="T65" fmla="*/ 69 h 80"/>
                <a:gd name="T66" fmla="*/ 1 w 93"/>
                <a:gd name="T67" fmla="*/ 65 h 80"/>
                <a:gd name="T68" fmla="*/ 12 w 93"/>
                <a:gd name="T69" fmla="*/ 45 h 80"/>
                <a:gd name="T70" fmla="*/ 2 w 93"/>
                <a:gd name="T71" fmla="*/ 33 h 80"/>
                <a:gd name="T72" fmla="*/ 6 w 93"/>
                <a:gd name="T73" fmla="*/ 36 h 80"/>
                <a:gd name="T74" fmla="*/ 32 w 93"/>
                <a:gd name="T75" fmla="*/ 24 h 80"/>
                <a:gd name="T76" fmla="*/ 63 w 93"/>
                <a:gd name="T77" fmla="*/ 7 h 80"/>
                <a:gd name="T78" fmla="*/ 68 w 93"/>
                <a:gd name="T79" fmla="*/ 0 h 80"/>
                <a:gd name="T80" fmla="*/ 86 w 93"/>
                <a:gd name="T81" fmla="*/ 17 h 80"/>
                <a:gd name="T82" fmla="*/ 77 w 93"/>
                <a:gd name="T83" fmla="*/ 39 h 80"/>
                <a:gd name="T84" fmla="*/ 76 w 93"/>
                <a:gd name="T85" fmla="*/ 42 h 80"/>
                <a:gd name="T86" fmla="*/ 64 w 93"/>
                <a:gd name="T87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80">
                  <a:moveTo>
                    <a:pt x="64" y="43"/>
                  </a:moveTo>
                  <a:cubicBezTo>
                    <a:pt x="61" y="45"/>
                    <a:pt x="69" y="47"/>
                    <a:pt x="68" y="52"/>
                  </a:cubicBezTo>
                  <a:cubicBezTo>
                    <a:pt x="70" y="52"/>
                    <a:pt x="69" y="49"/>
                    <a:pt x="69" y="47"/>
                  </a:cubicBezTo>
                  <a:cubicBezTo>
                    <a:pt x="72" y="47"/>
                    <a:pt x="73" y="46"/>
                    <a:pt x="73" y="44"/>
                  </a:cubicBezTo>
                  <a:cubicBezTo>
                    <a:pt x="74" y="50"/>
                    <a:pt x="86" y="57"/>
                    <a:pt x="77" y="61"/>
                  </a:cubicBezTo>
                  <a:cubicBezTo>
                    <a:pt x="77" y="59"/>
                    <a:pt x="79" y="58"/>
                    <a:pt x="78" y="56"/>
                  </a:cubicBezTo>
                  <a:cubicBezTo>
                    <a:pt x="78" y="54"/>
                    <a:pt x="76" y="55"/>
                    <a:pt x="76" y="53"/>
                  </a:cubicBezTo>
                  <a:cubicBezTo>
                    <a:pt x="72" y="52"/>
                    <a:pt x="77" y="59"/>
                    <a:pt x="73" y="58"/>
                  </a:cubicBezTo>
                  <a:cubicBezTo>
                    <a:pt x="74" y="60"/>
                    <a:pt x="76" y="61"/>
                    <a:pt x="77" y="62"/>
                  </a:cubicBezTo>
                  <a:cubicBezTo>
                    <a:pt x="71" y="69"/>
                    <a:pt x="69" y="73"/>
                    <a:pt x="59" y="74"/>
                  </a:cubicBezTo>
                  <a:cubicBezTo>
                    <a:pt x="58" y="71"/>
                    <a:pt x="65" y="69"/>
                    <a:pt x="59" y="69"/>
                  </a:cubicBezTo>
                  <a:cubicBezTo>
                    <a:pt x="62" y="66"/>
                    <a:pt x="63" y="61"/>
                    <a:pt x="65" y="58"/>
                  </a:cubicBezTo>
                  <a:cubicBezTo>
                    <a:pt x="66" y="51"/>
                    <a:pt x="54" y="51"/>
                    <a:pt x="58" y="45"/>
                  </a:cubicBezTo>
                  <a:cubicBezTo>
                    <a:pt x="48" y="43"/>
                    <a:pt x="43" y="48"/>
                    <a:pt x="40" y="44"/>
                  </a:cubicBezTo>
                  <a:cubicBezTo>
                    <a:pt x="37" y="45"/>
                    <a:pt x="37" y="49"/>
                    <a:pt x="36" y="51"/>
                  </a:cubicBezTo>
                  <a:cubicBezTo>
                    <a:pt x="38" y="54"/>
                    <a:pt x="43" y="48"/>
                    <a:pt x="45" y="49"/>
                  </a:cubicBezTo>
                  <a:cubicBezTo>
                    <a:pt x="47" y="54"/>
                    <a:pt x="48" y="52"/>
                    <a:pt x="51" y="54"/>
                  </a:cubicBezTo>
                  <a:cubicBezTo>
                    <a:pt x="51" y="58"/>
                    <a:pt x="49" y="59"/>
                    <a:pt x="54" y="58"/>
                  </a:cubicBezTo>
                  <a:cubicBezTo>
                    <a:pt x="52" y="64"/>
                    <a:pt x="52" y="67"/>
                    <a:pt x="58" y="67"/>
                  </a:cubicBezTo>
                  <a:cubicBezTo>
                    <a:pt x="56" y="73"/>
                    <a:pt x="43" y="80"/>
                    <a:pt x="40" y="73"/>
                  </a:cubicBezTo>
                  <a:cubicBezTo>
                    <a:pt x="35" y="79"/>
                    <a:pt x="23" y="79"/>
                    <a:pt x="20" y="73"/>
                  </a:cubicBezTo>
                  <a:cubicBezTo>
                    <a:pt x="17" y="72"/>
                    <a:pt x="21" y="78"/>
                    <a:pt x="16" y="76"/>
                  </a:cubicBezTo>
                  <a:cubicBezTo>
                    <a:pt x="17" y="71"/>
                    <a:pt x="22" y="71"/>
                    <a:pt x="24" y="73"/>
                  </a:cubicBezTo>
                  <a:cubicBezTo>
                    <a:pt x="25" y="69"/>
                    <a:pt x="26" y="71"/>
                    <a:pt x="29" y="70"/>
                  </a:cubicBezTo>
                  <a:cubicBezTo>
                    <a:pt x="27" y="67"/>
                    <a:pt x="22" y="70"/>
                    <a:pt x="25" y="65"/>
                  </a:cubicBezTo>
                  <a:cubicBezTo>
                    <a:pt x="24" y="67"/>
                    <a:pt x="21" y="67"/>
                    <a:pt x="20" y="70"/>
                  </a:cubicBezTo>
                  <a:cubicBezTo>
                    <a:pt x="18" y="69"/>
                    <a:pt x="24" y="62"/>
                    <a:pt x="19" y="67"/>
                  </a:cubicBezTo>
                  <a:cubicBezTo>
                    <a:pt x="15" y="66"/>
                    <a:pt x="20" y="62"/>
                    <a:pt x="20" y="61"/>
                  </a:cubicBezTo>
                  <a:cubicBezTo>
                    <a:pt x="17" y="60"/>
                    <a:pt x="18" y="64"/>
                    <a:pt x="16" y="65"/>
                  </a:cubicBezTo>
                  <a:cubicBezTo>
                    <a:pt x="12" y="60"/>
                    <a:pt x="17" y="58"/>
                    <a:pt x="16" y="52"/>
                  </a:cubicBezTo>
                  <a:cubicBezTo>
                    <a:pt x="12" y="52"/>
                    <a:pt x="13" y="58"/>
                    <a:pt x="11" y="60"/>
                  </a:cubicBezTo>
                  <a:cubicBezTo>
                    <a:pt x="6" y="54"/>
                    <a:pt x="10" y="61"/>
                    <a:pt x="9" y="64"/>
                  </a:cubicBezTo>
                  <a:cubicBezTo>
                    <a:pt x="10" y="61"/>
                    <a:pt x="3" y="63"/>
                    <a:pt x="5" y="69"/>
                  </a:cubicBezTo>
                  <a:cubicBezTo>
                    <a:pt x="2" y="69"/>
                    <a:pt x="3" y="65"/>
                    <a:pt x="1" y="65"/>
                  </a:cubicBezTo>
                  <a:cubicBezTo>
                    <a:pt x="3" y="57"/>
                    <a:pt x="10" y="53"/>
                    <a:pt x="12" y="45"/>
                  </a:cubicBezTo>
                  <a:cubicBezTo>
                    <a:pt x="7" y="43"/>
                    <a:pt x="0" y="42"/>
                    <a:pt x="2" y="33"/>
                  </a:cubicBezTo>
                  <a:cubicBezTo>
                    <a:pt x="4" y="33"/>
                    <a:pt x="5" y="35"/>
                    <a:pt x="6" y="36"/>
                  </a:cubicBezTo>
                  <a:cubicBezTo>
                    <a:pt x="10" y="22"/>
                    <a:pt x="21" y="25"/>
                    <a:pt x="32" y="24"/>
                  </a:cubicBezTo>
                  <a:cubicBezTo>
                    <a:pt x="44" y="28"/>
                    <a:pt x="61" y="22"/>
                    <a:pt x="63" y="7"/>
                  </a:cubicBezTo>
                  <a:cubicBezTo>
                    <a:pt x="70" y="7"/>
                    <a:pt x="67" y="5"/>
                    <a:pt x="68" y="0"/>
                  </a:cubicBezTo>
                  <a:cubicBezTo>
                    <a:pt x="72" y="8"/>
                    <a:pt x="70" y="24"/>
                    <a:pt x="86" y="17"/>
                  </a:cubicBezTo>
                  <a:cubicBezTo>
                    <a:pt x="93" y="22"/>
                    <a:pt x="92" y="44"/>
                    <a:pt x="77" y="39"/>
                  </a:cubicBezTo>
                  <a:cubicBezTo>
                    <a:pt x="76" y="39"/>
                    <a:pt x="76" y="41"/>
                    <a:pt x="76" y="42"/>
                  </a:cubicBezTo>
                  <a:cubicBezTo>
                    <a:pt x="71" y="37"/>
                    <a:pt x="68" y="47"/>
                    <a:pt x="6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6" name="Freeform 462"/>
            <p:cNvSpPr>
              <a:spLocks/>
            </p:cNvSpPr>
            <p:nvPr/>
          </p:nvSpPr>
          <p:spPr bwMode="auto">
            <a:xfrm>
              <a:off x="7327900" y="2201863"/>
              <a:ext cx="20638" cy="55563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0 w 7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6" y="3"/>
                    <a:pt x="4" y="14"/>
                    <a:pt x="7" y="20"/>
                  </a:cubicBezTo>
                  <a:cubicBezTo>
                    <a:pt x="2" y="16"/>
                    <a:pt x="2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7" name="Freeform 463"/>
            <p:cNvSpPr>
              <a:spLocks/>
            </p:cNvSpPr>
            <p:nvPr/>
          </p:nvSpPr>
          <p:spPr bwMode="auto">
            <a:xfrm>
              <a:off x="7402513" y="2217738"/>
              <a:ext cx="39688" cy="103188"/>
            </a:xfrm>
            <a:custGeom>
              <a:avLst/>
              <a:gdLst>
                <a:gd name="T0" fmla="*/ 6 w 14"/>
                <a:gd name="T1" fmla="*/ 0 h 36"/>
                <a:gd name="T2" fmla="*/ 11 w 14"/>
                <a:gd name="T3" fmla="*/ 36 h 36"/>
                <a:gd name="T4" fmla="*/ 0 w 14"/>
                <a:gd name="T5" fmla="*/ 3 h 36"/>
                <a:gd name="T6" fmla="*/ 6 w 14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6">
                  <a:moveTo>
                    <a:pt x="6" y="0"/>
                  </a:moveTo>
                  <a:cubicBezTo>
                    <a:pt x="6" y="8"/>
                    <a:pt x="14" y="24"/>
                    <a:pt x="11" y="36"/>
                  </a:cubicBezTo>
                  <a:cubicBezTo>
                    <a:pt x="8" y="24"/>
                    <a:pt x="5" y="14"/>
                    <a:pt x="0" y="3"/>
                  </a:cubicBezTo>
                  <a:cubicBezTo>
                    <a:pt x="3" y="3"/>
                    <a:pt x="5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8" name="Freeform 464"/>
            <p:cNvSpPr>
              <a:spLocks/>
            </p:cNvSpPr>
            <p:nvPr/>
          </p:nvSpPr>
          <p:spPr bwMode="auto">
            <a:xfrm>
              <a:off x="7962900" y="2308226"/>
              <a:ext cx="39688" cy="34925"/>
            </a:xfrm>
            <a:custGeom>
              <a:avLst/>
              <a:gdLst>
                <a:gd name="T0" fmla="*/ 8 w 14"/>
                <a:gd name="T1" fmla="*/ 0 h 12"/>
                <a:gd name="T2" fmla="*/ 14 w 14"/>
                <a:gd name="T3" fmla="*/ 3 h 12"/>
                <a:gd name="T4" fmla="*/ 4 w 14"/>
                <a:gd name="T5" fmla="*/ 12 h 12"/>
                <a:gd name="T6" fmla="*/ 0 w 14"/>
                <a:gd name="T7" fmla="*/ 4 h 12"/>
                <a:gd name="T8" fmla="*/ 4 w 14"/>
                <a:gd name="T9" fmla="*/ 9 h 12"/>
                <a:gd name="T10" fmla="*/ 8 w 14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cubicBezTo>
                    <a:pt x="11" y="0"/>
                    <a:pt x="12" y="2"/>
                    <a:pt x="14" y="3"/>
                  </a:cubicBezTo>
                  <a:cubicBezTo>
                    <a:pt x="12" y="7"/>
                    <a:pt x="6" y="8"/>
                    <a:pt x="4" y="12"/>
                  </a:cubicBezTo>
                  <a:cubicBezTo>
                    <a:pt x="1" y="11"/>
                    <a:pt x="1" y="7"/>
                    <a:pt x="0" y="4"/>
                  </a:cubicBezTo>
                  <a:cubicBezTo>
                    <a:pt x="2" y="0"/>
                    <a:pt x="1" y="10"/>
                    <a:pt x="4" y="9"/>
                  </a:cubicBezTo>
                  <a:cubicBezTo>
                    <a:pt x="6" y="6"/>
                    <a:pt x="10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9" name="Freeform 466"/>
            <p:cNvSpPr>
              <a:spLocks/>
            </p:cNvSpPr>
            <p:nvPr/>
          </p:nvSpPr>
          <p:spPr bwMode="auto">
            <a:xfrm>
              <a:off x="7316788" y="2430463"/>
              <a:ext cx="68263" cy="22225"/>
            </a:xfrm>
            <a:custGeom>
              <a:avLst/>
              <a:gdLst>
                <a:gd name="T0" fmla="*/ 2 w 24"/>
                <a:gd name="T1" fmla="*/ 4 h 8"/>
                <a:gd name="T2" fmla="*/ 11 w 24"/>
                <a:gd name="T3" fmla="*/ 0 h 8"/>
                <a:gd name="T4" fmla="*/ 24 w 24"/>
                <a:gd name="T5" fmla="*/ 4 h 8"/>
                <a:gd name="T6" fmla="*/ 11 w 24"/>
                <a:gd name="T7" fmla="*/ 7 h 8"/>
                <a:gd name="T8" fmla="*/ 2 w 24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" y="4"/>
                  </a:moveTo>
                  <a:cubicBezTo>
                    <a:pt x="0" y="0"/>
                    <a:pt x="11" y="6"/>
                    <a:pt x="11" y="0"/>
                  </a:cubicBezTo>
                  <a:cubicBezTo>
                    <a:pt x="13" y="5"/>
                    <a:pt x="19" y="5"/>
                    <a:pt x="24" y="4"/>
                  </a:cubicBezTo>
                  <a:cubicBezTo>
                    <a:pt x="22" y="8"/>
                    <a:pt x="15" y="6"/>
                    <a:pt x="11" y="7"/>
                  </a:cubicBezTo>
                  <a:cubicBezTo>
                    <a:pt x="11" y="3"/>
                    <a:pt x="5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0" name="Freeform 467"/>
            <p:cNvSpPr>
              <a:spLocks/>
            </p:cNvSpPr>
            <p:nvPr/>
          </p:nvSpPr>
          <p:spPr bwMode="auto">
            <a:xfrm>
              <a:off x="7446963" y="2430463"/>
              <a:ext cx="31750" cy="74613"/>
            </a:xfrm>
            <a:custGeom>
              <a:avLst/>
              <a:gdLst>
                <a:gd name="T0" fmla="*/ 0 w 11"/>
                <a:gd name="T1" fmla="*/ 0 h 26"/>
                <a:gd name="T2" fmla="*/ 11 w 11"/>
                <a:gd name="T3" fmla="*/ 14 h 26"/>
                <a:gd name="T4" fmla="*/ 6 w 11"/>
                <a:gd name="T5" fmla="*/ 14 h 26"/>
                <a:gd name="T6" fmla="*/ 9 w 11"/>
                <a:gd name="T7" fmla="*/ 26 h 26"/>
                <a:gd name="T8" fmla="*/ 0 w 1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6">
                  <a:moveTo>
                    <a:pt x="0" y="0"/>
                  </a:moveTo>
                  <a:cubicBezTo>
                    <a:pt x="6" y="3"/>
                    <a:pt x="7" y="10"/>
                    <a:pt x="11" y="14"/>
                  </a:cubicBezTo>
                  <a:cubicBezTo>
                    <a:pt x="11" y="17"/>
                    <a:pt x="7" y="14"/>
                    <a:pt x="6" y="14"/>
                  </a:cubicBezTo>
                  <a:cubicBezTo>
                    <a:pt x="7" y="18"/>
                    <a:pt x="7" y="22"/>
                    <a:pt x="9" y="26"/>
                  </a:cubicBezTo>
                  <a:cubicBezTo>
                    <a:pt x="4" y="22"/>
                    <a:pt x="4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1" name="Freeform 468"/>
            <p:cNvSpPr>
              <a:spLocks/>
            </p:cNvSpPr>
            <p:nvPr/>
          </p:nvSpPr>
          <p:spPr bwMode="auto">
            <a:xfrm>
              <a:off x="7867650" y="2505076"/>
              <a:ext cx="36513" cy="39688"/>
            </a:xfrm>
            <a:custGeom>
              <a:avLst/>
              <a:gdLst>
                <a:gd name="T0" fmla="*/ 4 w 13"/>
                <a:gd name="T1" fmla="*/ 0 h 14"/>
                <a:gd name="T2" fmla="*/ 12 w 13"/>
                <a:gd name="T3" fmla="*/ 14 h 14"/>
                <a:gd name="T4" fmla="*/ 7 w 13"/>
                <a:gd name="T5" fmla="*/ 9 h 14"/>
                <a:gd name="T6" fmla="*/ 4 w 13"/>
                <a:gd name="T7" fmla="*/ 14 h 14"/>
                <a:gd name="T8" fmla="*/ 4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4" y="0"/>
                  </a:moveTo>
                  <a:cubicBezTo>
                    <a:pt x="13" y="1"/>
                    <a:pt x="8" y="9"/>
                    <a:pt x="12" y="14"/>
                  </a:cubicBezTo>
                  <a:cubicBezTo>
                    <a:pt x="9" y="14"/>
                    <a:pt x="7" y="12"/>
                    <a:pt x="7" y="9"/>
                  </a:cubicBezTo>
                  <a:cubicBezTo>
                    <a:pt x="5" y="9"/>
                    <a:pt x="4" y="11"/>
                    <a:pt x="4" y="14"/>
                  </a:cubicBezTo>
                  <a:cubicBezTo>
                    <a:pt x="0" y="11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2" name="Freeform 469"/>
            <p:cNvSpPr>
              <a:spLocks/>
            </p:cNvSpPr>
            <p:nvPr/>
          </p:nvSpPr>
          <p:spPr bwMode="auto">
            <a:xfrm>
              <a:off x="7523163" y="1384301"/>
              <a:ext cx="63500" cy="71438"/>
            </a:xfrm>
            <a:custGeom>
              <a:avLst/>
              <a:gdLst>
                <a:gd name="T0" fmla="*/ 3 w 22"/>
                <a:gd name="T1" fmla="*/ 4 h 25"/>
                <a:gd name="T2" fmla="*/ 13 w 22"/>
                <a:gd name="T3" fmla="*/ 4 h 25"/>
                <a:gd name="T4" fmla="*/ 19 w 22"/>
                <a:gd name="T5" fmla="*/ 14 h 25"/>
                <a:gd name="T6" fmla="*/ 14 w 22"/>
                <a:gd name="T7" fmla="*/ 12 h 25"/>
                <a:gd name="T8" fmla="*/ 21 w 22"/>
                <a:gd name="T9" fmla="*/ 25 h 25"/>
                <a:gd name="T10" fmla="*/ 0 w 22"/>
                <a:gd name="T11" fmla="*/ 8 h 25"/>
                <a:gd name="T12" fmla="*/ 6 w 22"/>
                <a:gd name="T13" fmla="*/ 7 h 25"/>
                <a:gd name="T14" fmla="*/ 3 w 22"/>
                <a:gd name="T1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5">
                  <a:moveTo>
                    <a:pt x="3" y="4"/>
                  </a:moveTo>
                  <a:cubicBezTo>
                    <a:pt x="5" y="0"/>
                    <a:pt x="8" y="6"/>
                    <a:pt x="13" y="4"/>
                  </a:cubicBezTo>
                  <a:cubicBezTo>
                    <a:pt x="9" y="9"/>
                    <a:pt x="20" y="8"/>
                    <a:pt x="19" y="14"/>
                  </a:cubicBezTo>
                  <a:cubicBezTo>
                    <a:pt x="16" y="15"/>
                    <a:pt x="17" y="12"/>
                    <a:pt x="14" y="12"/>
                  </a:cubicBezTo>
                  <a:cubicBezTo>
                    <a:pt x="12" y="15"/>
                    <a:pt x="22" y="18"/>
                    <a:pt x="21" y="25"/>
                  </a:cubicBezTo>
                  <a:cubicBezTo>
                    <a:pt x="15" y="18"/>
                    <a:pt x="9" y="12"/>
                    <a:pt x="0" y="8"/>
                  </a:cubicBezTo>
                  <a:cubicBezTo>
                    <a:pt x="0" y="5"/>
                    <a:pt x="5" y="7"/>
                    <a:pt x="6" y="7"/>
                  </a:cubicBezTo>
                  <a:cubicBezTo>
                    <a:pt x="6" y="5"/>
                    <a:pt x="5" y="4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3" name="Freeform 470"/>
            <p:cNvSpPr>
              <a:spLocks/>
            </p:cNvSpPr>
            <p:nvPr/>
          </p:nvSpPr>
          <p:spPr bwMode="auto">
            <a:xfrm>
              <a:off x="7521575" y="1963738"/>
              <a:ext cx="174625" cy="76200"/>
            </a:xfrm>
            <a:custGeom>
              <a:avLst/>
              <a:gdLst>
                <a:gd name="T0" fmla="*/ 62 w 62"/>
                <a:gd name="T1" fmla="*/ 13 h 27"/>
                <a:gd name="T2" fmla="*/ 46 w 62"/>
                <a:gd name="T3" fmla="*/ 10 h 27"/>
                <a:gd name="T4" fmla="*/ 20 w 62"/>
                <a:gd name="T5" fmla="*/ 23 h 27"/>
                <a:gd name="T6" fmla="*/ 18 w 62"/>
                <a:gd name="T7" fmla="*/ 15 h 27"/>
                <a:gd name="T8" fmla="*/ 0 w 62"/>
                <a:gd name="T9" fmla="*/ 27 h 27"/>
                <a:gd name="T10" fmla="*/ 62 w 62"/>
                <a:gd name="T1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27">
                  <a:moveTo>
                    <a:pt x="62" y="13"/>
                  </a:moveTo>
                  <a:cubicBezTo>
                    <a:pt x="57" y="15"/>
                    <a:pt x="51" y="14"/>
                    <a:pt x="46" y="10"/>
                  </a:cubicBezTo>
                  <a:cubicBezTo>
                    <a:pt x="44" y="21"/>
                    <a:pt x="32" y="21"/>
                    <a:pt x="20" y="23"/>
                  </a:cubicBezTo>
                  <a:cubicBezTo>
                    <a:pt x="20" y="20"/>
                    <a:pt x="17" y="19"/>
                    <a:pt x="18" y="15"/>
                  </a:cubicBezTo>
                  <a:cubicBezTo>
                    <a:pt x="12" y="20"/>
                    <a:pt x="10" y="25"/>
                    <a:pt x="0" y="27"/>
                  </a:cubicBezTo>
                  <a:cubicBezTo>
                    <a:pt x="5" y="0"/>
                    <a:pt x="42" y="1"/>
                    <a:pt x="6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4" name="Freeform 472"/>
            <p:cNvSpPr>
              <a:spLocks/>
            </p:cNvSpPr>
            <p:nvPr/>
          </p:nvSpPr>
          <p:spPr bwMode="auto">
            <a:xfrm>
              <a:off x="7072313" y="2997201"/>
              <a:ext cx="31750" cy="25400"/>
            </a:xfrm>
            <a:custGeom>
              <a:avLst/>
              <a:gdLst>
                <a:gd name="T0" fmla="*/ 1 w 11"/>
                <a:gd name="T1" fmla="*/ 0 h 9"/>
                <a:gd name="T2" fmla="*/ 9 w 11"/>
                <a:gd name="T3" fmla="*/ 0 h 9"/>
                <a:gd name="T4" fmla="*/ 3 w 11"/>
                <a:gd name="T5" fmla="*/ 9 h 9"/>
                <a:gd name="T6" fmla="*/ 1 w 11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1" y="0"/>
                  </a:moveTo>
                  <a:cubicBezTo>
                    <a:pt x="4" y="0"/>
                    <a:pt x="6" y="0"/>
                    <a:pt x="9" y="0"/>
                  </a:cubicBezTo>
                  <a:cubicBezTo>
                    <a:pt x="11" y="7"/>
                    <a:pt x="4" y="5"/>
                    <a:pt x="3" y="9"/>
                  </a:cubicBezTo>
                  <a:cubicBezTo>
                    <a:pt x="0" y="8"/>
                    <a:pt x="2" y="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5" name="Freeform 473"/>
            <p:cNvSpPr>
              <a:spLocks/>
            </p:cNvSpPr>
            <p:nvPr/>
          </p:nvSpPr>
          <p:spPr bwMode="auto">
            <a:xfrm>
              <a:off x="7097713" y="2994026"/>
              <a:ext cx="34925" cy="34925"/>
            </a:xfrm>
            <a:custGeom>
              <a:avLst/>
              <a:gdLst>
                <a:gd name="T0" fmla="*/ 5 w 12"/>
                <a:gd name="T1" fmla="*/ 1 h 12"/>
                <a:gd name="T2" fmla="*/ 12 w 12"/>
                <a:gd name="T3" fmla="*/ 8 h 12"/>
                <a:gd name="T4" fmla="*/ 4 w 12"/>
                <a:gd name="T5" fmla="*/ 10 h 12"/>
                <a:gd name="T6" fmla="*/ 5 w 12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11" y="0"/>
                    <a:pt x="9" y="6"/>
                    <a:pt x="12" y="8"/>
                  </a:cubicBezTo>
                  <a:cubicBezTo>
                    <a:pt x="11" y="12"/>
                    <a:pt x="5" y="5"/>
                    <a:pt x="4" y="10"/>
                  </a:cubicBezTo>
                  <a:cubicBezTo>
                    <a:pt x="0" y="7"/>
                    <a:pt x="7" y="5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476" name="Group 475"/>
          <p:cNvGrpSpPr/>
          <p:nvPr/>
        </p:nvGrpSpPr>
        <p:grpSpPr>
          <a:xfrm>
            <a:off x="2436911" y="1547305"/>
            <a:ext cx="1012045" cy="162368"/>
            <a:chOff x="2436911" y="1547305"/>
            <a:chExt cx="1012045" cy="162368"/>
          </a:xfrm>
        </p:grpSpPr>
        <p:sp>
          <p:nvSpPr>
            <p:cNvPr id="477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2436911" y="1547305"/>
              <a:ext cx="1012045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specting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478" name="Group 477"/>
            <p:cNvGrpSpPr/>
            <p:nvPr/>
          </p:nvGrpSpPr>
          <p:grpSpPr>
            <a:xfrm>
              <a:off x="2541872" y="1574253"/>
              <a:ext cx="146365" cy="123132"/>
              <a:chOff x="-2157413" y="1495425"/>
              <a:chExt cx="2100263" cy="1766888"/>
            </a:xfrm>
            <a:solidFill>
              <a:schemeClr val="tx2"/>
            </a:solidFill>
          </p:grpSpPr>
          <p:sp>
            <p:nvSpPr>
              <p:cNvPr id="479" name="Freeform 6"/>
              <p:cNvSpPr>
                <a:spLocks/>
              </p:cNvSpPr>
              <p:nvPr/>
            </p:nvSpPr>
            <p:spPr bwMode="auto">
              <a:xfrm>
                <a:off x="-2157413" y="1871663"/>
                <a:ext cx="201613" cy="306388"/>
              </a:xfrm>
              <a:custGeom>
                <a:avLst/>
                <a:gdLst>
                  <a:gd name="T0" fmla="*/ 43 w 54"/>
                  <a:gd name="T1" fmla="*/ 60 h 82"/>
                  <a:gd name="T2" fmla="*/ 47 w 54"/>
                  <a:gd name="T3" fmla="*/ 64 h 82"/>
                  <a:gd name="T4" fmla="*/ 37 w 54"/>
                  <a:gd name="T5" fmla="*/ 76 h 82"/>
                  <a:gd name="T6" fmla="*/ 20 w 54"/>
                  <a:gd name="T7" fmla="*/ 82 h 82"/>
                  <a:gd name="T8" fmla="*/ 6 w 54"/>
                  <a:gd name="T9" fmla="*/ 76 h 82"/>
                  <a:gd name="T10" fmla="*/ 0 w 54"/>
                  <a:gd name="T11" fmla="*/ 59 h 82"/>
                  <a:gd name="T12" fmla="*/ 6 w 54"/>
                  <a:gd name="T13" fmla="*/ 33 h 82"/>
                  <a:gd name="T14" fmla="*/ 23 w 54"/>
                  <a:gd name="T15" fmla="*/ 9 h 82"/>
                  <a:gd name="T16" fmla="*/ 42 w 54"/>
                  <a:gd name="T17" fmla="*/ 0 h 82"/>
                  <a:gd name="T18" fmla="*/ 51 w 54"/>
                  <a:gd name="T19" fmla="*/ 4 h 82"/>
                  <a:gd name="T20" fmla="*/ 54 w 54"/>
                  <a:gd name="T21" fmla="*/ 14 h 82"/>
                  <a:gd name="T22" fmla="*/ 53 w 54"/>
                  <a:gd name="T23" fmla="*/ 22 h 82"/>
                  <a:gd name="T24" fmla="*/ 50 w 54"/>
                  <a:gd name="T25" fmla="*/ 27 h 82"/>
                  <a:gd name="T26" fmla="*/ 46 w 54"/>
                  <a:gd name="T27" fmla="*/ 28 h 82"/>
                  <a:gd name="T28" fmla="*/ 43 w 54"/>
                  <a:gd name="T29" fmla="*/ 27 h 82"/>
                  <a:gd name="T30" fmla="*/ 42 w 54"/>
                  <a:gd name="T31" fmla="*/ 23 h 82"/>
                  <a:gd name="T32" fmla="*/ 43 w 54"/>
                  <a:gd name="T33" fmla="*/ 19 h 82"/>
                  <a:gd name="T34" fmla="*/ 43 w 54"/>
                  <a:gd name="T35" fmla="*/ 13 h 82"/>
                  <a:gd name="T36" fmla="*/ 41 w 54"/>
                  <a:gd name="T37" fmla="*/ 10 h 82"/>
                  <a:gd name="T38" fmla="*/ 28 w 54"/>
                  <a:gd name="T39" fmla="*/ 18 h 82"/>
                  <a:gd name="T40" fmla="*/ 16 w 54"/>
                  <a:gd name="T41" fmla="*/ 37 h 82"/>
                  <a:gd name="T42" fmla="*/ 10 w 54"/>
                  <a:gd name="T43" fmla="*/ 58 h 82"/>
                  <a:gd name="T44" fmla="*/ 13 w 54"/>
                  <a:gd name="T45" fmla="*/ 68 h 82"/>
                  <a:gd name="T46" fmla="*/ 21 w 54"/>
                  <a:gd name="T47" fmla="*/ 72 h 82"/>
                  <a:gd name="T48" fmla="*/ 29 w 54"/>
                  <a:gd name="T49" fmla="*/ 70 h 82"/>
                  <a:gd name="T50" fmla="*/ 38 w 54"/>
                  <a:gd name="T51" fmla="*/ 64 h 82"/>
                  <a:gd name="T52" fmla="*/ 43 w 54"/>
                  <a:gd name="T53" fmla="*/ 6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82">
                    <a:moveTo>
                      <a:pt x="43" y="60"/>
                    </a:moveTo>
                    <a:cubicBezTo>
                      <a:pt x="45" y="60"/>
                      <a:pt x="47" y="62"/>
                      <a:pt x="47" y="64"/>
                    </a:cubicBezTo>
                    <a:cubicBezTo>
                      <a:pt x="47" y="67"/>
                      <a:pt x="43" y="71"/>
                      <a:pt x="37" y="76"/>
                    </a:cubicBezTo>
                    <a:cubicBezTo>
                      <a:pt x="31" y="80"/>
                      <a:pt x="26" y="82"/>
                      <a:pt x="20" y="82"/>
                    </a:cubicBezTo>
                    <a:cubicBezTo>
                      <a:pt x="15" y="82"/>
                      <a:pt x="10" y="80"/>
                      <a:pt x="6" y="76"/>
                    </a:cubicBezTo>
                    <a:cubicBezTo>
                      <a:pt x="2" y="72"/>
                      <a:pt x="0" y="66"/>
                      <a:pt x="0" y="59"/>
                    </a:cubicBezTo>
                    <a:cubicBezTo>
                      <a:pt x="0" y="51"/>
                      <a:pt x="2" y="42"/>
                      <a:pt x="6" y="33"/>
                    </a:cubicBezTo>
                    <a:cubicBezTo>
                      <a:pt x="11" y="23"/>
                      <a:pt x="16" y="15"/>
                      <a:pt x="23" y="9"/>
                    </a:cubicBezTo>
                    <a:cubicBezTo>
                      <a:pt x="29" y="3"/>
                      <a:pt x="36" y="0"/>
                      <a:pt x="42" y="0"/>
                    </a:cubicBezTo>
                    <a:cubicBezTo>
                      <a:pt x="45" y="0"/>
                      <a:pt x="48" y="2"/>
                      <a:pt x="51" y="4"/>
                    </a:cubicBezTo>
                    <a:cubicBezTo>
                      <a:pt x="53" y="7"/>
                      <a:pt x="54" y="10"/>
                      <a:pt x="54" y="14"/>
                    </a:cubicBezTo>
                    <a:cubicBezTo>
                      <a:pt x="54" y="18"/>
                      <a:pt x="54" y="20"/>
                      <a:pt x="53" y="22"/>
                    </a:cubicBezTo>
                    <a:cubicBezTo>
                      <a:pt x="53" y="24"/>
                      <a:pt x="52" y="25"/>
                      <a:pt x="50" y="27"/>
                    </a:cubicBezTo>
                    <a:cubicBezTo>
                      <a:pt x="48" y="28"/>
                      <a:pt x="47" y="28"/>
                      <a:pt x="46" y="28"/>
                    </a:cubicBezTo>
                    <a:cubicBezTo>
                      <a:pt x="45" y="28"/>
                      <a:pt x="44" y="28"/>
                      <a:pt x="43" y="27"/>
                    </a:cubicBezTo>
                    <a:cubicBezTo>
                      <a:pt x="42" y="26"/>
                      <a:pt x="42" y="25"/>
                      <a:pt x="42" y="23"/>
                    </a:cubicBezTo>
                    <a:cubicBezTo>
                      <a:pt x="42" y="22"/>
                      <a:pt x="42" y="21"/>
                      <a:pt x="43" y="19"/>
                    </a:cubicBezTo>
                    <a:cubicBezTo>
                      <a:pt x="43" y="17"/>
                      <a:pt x="43" y="15"/>
                      <a:pt x="43" y="13"/>
                    </a:cubicBezTo>
                    <a:cubicBezTo>
                      <a:pt x="43" y="11"/>
                      <a:pt x="43" y="10"/>
                      <a:pt x="41" y="10"/>
                    </a:cubicBezTo>
                    <a:cubicBezTo>
                      <a:pt x="38" y="10"/>
                      <a:pt x="33" y="13"/>
                      <a:pt x="28" y="18"/>
                    </a:cubicBezTo>
                    <a:cubicBezTo>
                      <a:pt x="23" y="23"/>
                      <a:pt x="19" y="29"/>
                      <a:pt x="16" y="37"/>
                    </a:cubicBezTo>
                    <a:cubicBezTo>
                      <a:pt x="12" y="45"/>
                      <a:pt x="10" y="52"/>
                      <a:pt x="10" y="58"/>
                    </a:cubicBezTo>
                    <a:cubicBezTo>
                      <a:pt x="10" y="62"/>
                      <a:pt x="11" y="65"/>
                      <a:pt x="13" y="68"/>
                    </a:cubicBezTo>
                    <a:cubicBezTo>
                      <a:pt x="15" y="70"/>
                      <a:pt x="18" y="72"/>
                      <a:pt x="21" y="72"/>
                    </a:cubicBezTo>
                    <a:cubicBezTo>
                      <a:pt x="23" y="72"/>
                      <a:pt x="26" y="71"/>
                      <a:pt x="29" y="70"/>
                    </a:cubicBezTo>
                    <a:cubicBezTo>
                      <a:pt x="32" y="68"/>
                      <a:pt x="35" y="66"/>
                      <a:pt x="38" y="64"/>
                    </a:cubicBezTo>
                    <a:cubicBezTo>
                      <a:pt x="41" y="62"/>
                      <a:pt x="42" y="60"/>
                      <a:pt x="43" y="6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0" name="Freeform 7"/>
              <p:cNvSpPr>
                <a:spLocks/>
              </p:cNvSpPr>
              <p:nvPr/>
            </p:nvSpPr>
            <p:spPr bwMode="auto">
              <a:xfrm>
                <a:off x="-1584325" y="1878013"/>
                <a:ext cx="315913" cy="409575"/>
              </a:xfrm>
              <a:custGeom>
                <a:avLst/>
                <a:gdLst>
                  <a:gd name="T0" fmla="*/ 48 w 84"/>
                  <a:gd name="T1" fmla="*/ 18 h 109"/>
                  <a:gd name="T2" fmla="*/ 47 w 84"/>
                  <a:gd name="T3" fmla="*/ 21 h 109"/>
                  <a:gd name="T4" fmla="*/ 45 w 84"/>
                  <a:gd name="T5" fmla="*/ 47 h 109"/>
                  <a:gd name="T6" fmla="*/ 43 w 84"/>
                  <a:gd name="T7" fmla="*/ 84 h 109"/>
                  <a:gd name="T8" fmla="*/ 44 w 84"/>
                  <a:gd name="T9" fmla="*/ 96 h 109"/>
                  <a:gd name="T10" fmla="*/ 44 w 84"/>
                  <a:gd name="T11" fmla="*/ 99 h 109"/>
                  <a:gd name="T12" fmla="*/ 43 w 84"/>
                  <a:gd name="T13" fmla="*/ 106 h 109"/>
                  <a:gd name="T14" fmla="*/ 38 w 84"/>
                  <a:gd name="T15" fmla="*/ 109 h 109"/>
                  <a:gd name="T16" fmla="*/ 34 w 84"/>
                  <a:gd name="T17" fmla="*/ 107 h 109"/>
                  <a:gd name="T18" fmla="*/ 30 w 84"/>
                  <a:gd name="T19" fmla="*/ 98 h 109"/>
                  <a:gd name="T20" fmla="*/ 30 w 84"/>
                  <a:gd name="T21" fmla="*/ 83 h 109"/>
                  <a:gd name="T22" fmla="*/ 32 w 84"/>
                  <a:gd name="T23" fmla="*/ 45 h 109"/>
                  <a:gd name="T24" fmla="*/ 35 w 84"/>
                  <a:gd name="T25" fmla="*/ 20 h 109"/>
                  <a:gd name="T26" fmla="*/ 23 w 84"/>
                  <a:gd name="T27" fmla="*/ 21 h 109"/>
                  <a:gd name="T28" fmla="*/ 10 w 84"/>
                  <a:gd name="T29" fmla="*/ 22 h 109"/>
                  <a:gd name="T30" fmla="*/ 3 w 84"/>
                  <a:gd name="T31" fmla="*/ 20 h 109"/>
                  <a:gd name="T32" fmla="*/ 0 w 84"/>
                  <a:gd name="T33" fmla="*/ 14 h 109"/>
                  <a:gd name="T34" fmla="*/ 3 w 84"/>
                  <a:gd name="T35" fmla="*/ 8 h 109"/>
                  <a:gd name="T36" fmla="*/ 14 w 84"/>
                  <a:gd name="T37" fmla="*/ 6 h 109"/>
                  <a:gd name="T38" fmla="*/ 45 w 84"/>
                  <a:gd name="T39" fmla="*/ 3 h 109"/>
                  <a:gd name="T40" fmla="*/ 70 w 84"/>
                  <a:gd name="T41" fmla="*/ 0 h 109"/>
                  <a:gd name="T42" fmla="*/ 82 w 84"/>
                  <a:gd name="T43" fmla="*/ 3 h 109"/>
                  <a:gd name="T44" fmla="*/ 84 w 84"/>
                  <a:gd name="T45" fmla="*/ 9 h 109"/>
                  <a:gd name="T46" fmla="*/ 79 w 84"/>
                  <a:gd name="T47" fmla="*/ 16 h 109"/>
                  <a:gd name="T48" fmla="*/ 75 w 84"/>
                  <a:gd name="T49" fmla="*/ 16 h 109"/>
                  <a:gd name="T50" fmla="*/ 67 w 84"/>
                  <a:gd name="T51" fmla="*/ 15 h 109"/>
                  <a:gd name="T52" fmla="*/ 48 w 84"/>
                  <a:gd name="T5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4" h="109">
                    <a:moveTo>
                      <a:pt x="48" y="18"/>
                    </a:moveTo>
                    <a:cubicBezTo>
                      <a:pt x="47" y="18"/>
                      <a:pt x="47" y="20"/>
                      <a:pt x="47" y="21"/>
                    </a:cubicBezTo>
                    <a:cubicBezTo>
                      <a:pt x="47" y="23"/>
                      <a:pt x="46" y="32"/>
                      <a:pt x="45" y="47"/>
                    </a:cubicBezTo>
                    <a:cubicBezTo>
                      <a:pt x="44" y="62"/>
                      <a:pt x="43" y="74"/>
                      <a:pt x="43" y="84"/>
                    </a:cubicBezTo>
                    <a:cubicBezTo>
                      <a:pt x="43" y="87"/>
                      <a:pt x="43" y="92"/>
                      <a:pt x="44" y="96"/>
                    </a:cubicBezTo>
                    <a:cubicBezTo>
                      <a:pt x="44" y="97"/>
                      <a:pt x="44" y="98"/>
                      <a:pt x="44" y="99"/>
                    </a:cubicBezTo>
                    <a:cubicBezTo>
                      <a:pt x="44" y="101"/>
                      <a:pt x="44" y="104"/>
                      <a:pt x="43" y="106"/>
                    </a:cubicBezTo>
                    <a:cubicBezTo>
                      <a:pt x="41" y="108"/>
                      <a:pt x="40" y="109"/>
                      <a:pt x="38" y="109"/>
                    </a:cubicBezTo>
                    <a:cubicBezTo>
                      <a:pt x="37" y="109"/>
                      <a:pt x="36" y="108"/>
                      <a:pt x="34" y="107"/>
                    </a:cubicBezTo>
                    <a:cubicBezTo>
                      <a:pt x="32" y="105"/>
                      <a:pt x="31" y="102"/>
                      <a:pt x="30" y="98"/>
                    </a:cubicBezTo>
                    <a:cubicBezTo>
                      <a:pt x="30" y="95"/>
                      <a:pt x="30" y="90"/>
                      <a:pt x="30" y="83"/>
                    </a:cubicBezTo>
                    <a:cubicBezTo>
                      <a:pt x="30" y="75"/>
                      <a:pt x="31" y="62"/>
                      <a:pt x="32" y="45"/>
                    </a:cubicBezTo>
                    <a:cubicBezTo>
                      <a:pt x="34" y="29"/>
                      <a:pt x="34" y="20"/>
                      <a:pt x="35" y="20"/>
                    </a:cubicBezTo>
                    <a:cubicBezTo>
                      <a:pt x="34" y="20"/>
                      <a:pt x="30" y="20"/>
                      <a:pt x="23" y="21"/>
                    </a:cubicBezTo>
                    <a:cubicBezTo>
                      <a:pt x="16" y="22"/>
                      <a:pt x="11" y="22"/>
                      <a:pt x="10" y="22"/>
                    </a:cubicBezTo>
                    <a:cubicBezTo>
                      <a:pt x="7" y="22"/>
                      <a:pt x="4" y="21"/>
                      <a:pt x="3" y="20"/>
                    </a:cubicBezTo>
                    <a:cubicBezTo>
                      <a:pt x="1" y="19"/>
                      <a:pt x="0" y="17"/>
                      <a:pt x="0" y="14"/>
                    </a:cubicBezTo>
                    <a:cubicBezTo>
                      <a:pt x="0" y="11"/>
                      <a:pt x="1" y="9"/>
                      <a:pt x="3" y="8"/>
                    </a:cubicBezTo>
                    <a:cubicBezTo>
                      <a:pt x="4" y="7"/>
                      <a:pt x="8" y="6"/>
                      <a:pt x="14" y="6"/>
                    </a:cubicBezTo>
                    <a:cubicBezTo>
                      <a:pt x="25" y="6"/>
                      <a:pt x="35" y="5"/>
                      <a:pt x="45" y="3"/>
                    </a:cubicBezTo>
                    <a:cubicBezTo>
                      <a:pt x="56" y="1"/>
                      <a:pt x="64" y="0"/>
                      <a:pt x="70" y="0"/>
                    </a:cubicBezTo>
                    <a:cubicBezTo>
                      <a:pt x="77" y="0"/>
                      <a:pt x="80" y="1"/>
                      <a:pt x="82" y="3"/>
                    </a:cubicBezTo>
                    <a:cubicBezTo>
                      <a:pt x="83" y="5"/>
                      <a:pt x="84" y="7"/>
                      <a:pt x="84" y="9"/>
                    </a:cubicBezTo>
                    <a:cubicBezTo>
                      <a:pt x="84" y="14"/>
                      <a:pt x="82" y="16"/>
                      <a:pt x="79" y="16"/>
                    </a:cubicBezTo>
                    <a:cubicBezTo>
                      <a:pt x="78" y="16"/>
                      <a:pt x="77" y="16"/>
                      <a:pt x="75" y="16"/>
                    </a:cubicBezTo>
                    <a:cubicBezTo>
                      <a:pt x="72" y="16"/>
                      <a:pt x="70" y="15"/>
                      <a:pt x="67" y="15"/>
                    </a:cubicBezTo>
                    <a:cubicBezTo>
                      <a:pt x="58" y="15"/>
                      <a:pt x="51" y="16"/>
                      <a:pt x="48" y="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1" name="Freeform 8"/>
              <p:cNvSpPr>
                <a:spLocks noEditPoints="1"/>
              </p:cNvSpPr>
              <p:nvPr/>
            </p:nvSpPr>
            <p:spPr bwMode="auto">
              <a:xfrm>
                <a:off x="-1287463" y="1866900"/>
                <a:ext cx="295275" cy="431800"/>
              </a:xfrm>
              <a:custGeom>
                <a:avLst/>
                <a:gdLst>
                  <a:gd name="T0" fmla="*/ 23 w 79"/>
                  <a:gd name="T1" fmla="*/ 115 h 115"/>
                  <a:gd name="T2" fmla="*/ 7 w 79"/>
                  <a:gd name="T3" fmla="*/ 102 h 115"/>
                  <a:gd name="T4" fmla="*/ 0 w 79"/>
                  <a:gd name="T5" fmla="*/ 77 h 115"/>
                  <a:gd name="T6" fmla="*/ 6 w 79"/>
                  <a:gd name="T7" fmla="*/ 43 h 115"/>
                  <a:gd name="T8" fmla="*/ 24 w 79"/>
                  <a:gd name="T9" fmla="*/ 12 h 115"/>
                  <a:gd name="T10" fmla="*/ 46 w 79"/>
                  <a:gd name="T11" fmla="*/ 0 h 115"/>
                  <a:gd name="T12" fmla="*/ 61 w 79"/>
                  <a:gd name="T13" fmla="*/ 3 h 115"/>
                  <a:gd name="T14" fmla="*/ 71 w 79"/>
                  <a:gd name="T15" fmla="*/ 12 h 115"/>
                  <a:gd name="T16" fmla="*/ 78 w 79"/>
                  <a:gd name="T17" fmla="*/ 24 h 115"/>
                  <a:gd name="T18" fmla="*/ 79 w 79"/>
                  <a:gd name="T19" fmla="*/ 41 h 115"/>
                  <a:gd name="T20" fmla="*/ 75 w 79"/>
                  <a:gd name="T21" fmla="*/ 64 h 115"/>
                  <a:gd name="T22" fmla="*/ 62 w 79"/>
                  <a:gd name="T23" fmla="*/ 89 h 115"/>
                  <a:gd name="T24" fmla="*/ 45 w 79"/>
                  <a:gd name="T25" fmla="*/ 108 h 115"/>
                  <a:gd name="T26" fmla="*/ 23 w 79"/>
                  <a:gd name="T27" fmla="*/ 115 h 115"/>
                  <a:gd name="T28" fmla="*/ 13 w 79"/>
                  <a:gd name="T29" fmla="*/ 77 h 115"/>
                  <a:gd name="T30" fmla="*/ 17 w 79"/>
                  <a:gd name="T31" fmla="*/ 92 h 115"/>
                  <a:gd name="T32" fmla="*/ 26 w 79"/>
                  <a:gd name="T33" fmla="*/ 98 h 115"/>
                  <a:gd name="T34" fmla="*/ 53 w 79"/>
                  <a:gd name="T35" fmla="*/ 79 h 115"/>
                  <a:gd name="T36" fmla="*/ 66 w 79"/>
                  <a:gd name="T37" fmla="*/ 38 h 115"/>
                  <a:gd name="T38" fmla="*/ 64 w 79"/>
                  <a:gd name="T39" fmla="*/ 26 h 115"/>
                  <a:gd name="T40" fmla="*/ 57 w 79"/>
                  <a:gd name="T41" fmla="*/ 18 h 115"/>
                  <a:gd name="T42" fmla="*/ 46 w 79"/>
                  <a:gd name="T43" fmla="*/ 15 h 115"/>
                  <a:gd name="T44" fmla="*/ 24 w 79"/>
                  <a:gd name="T45" fmla="*/ 36 h 115"/>
                  <a:gd name="T46" fmla="*/ 13 w 79"/>
                  <a:gd name="T47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15">
                    <a:moveTo>
                      <a:pt x="23" y="115"/>
                    </a:moveTo>
                    <a:cubicBezTo>
                      <a:pt x="17" y="115"/>
                      <a:pt x="11" y="111"/>
                      <a:pt x="7" y="102"/>
                    </a:cubicBezTo>
                    <a:cubicBezTo>
                      <a:pt x="2" y="94"/>
                      <a:pt x="0" y="86"/>
                      <a:pt x="0" y="77"/>
                    </a:cubicBezTo>
                    <a:cubicBezTo>
                      <a:pt x="0" y="67"/>
                      <a:pt x="2" y="56"/>
                      <a:pt x="6" y="43"/>
                    </a:cubicBezTo>
                    <a:cubicBezTo>
                      <a:pt x="11" y="31"/>
                      <a:pt x="17" y="20"/>
                      <a:pt x="24" y="12"/>
                    </a:cubicBezTo>
                    <a:cubicBezTo>
                      <a:pt x="31" y="4"/>
                      <a:pt x="38" y="0"/>
                      <a:pt x="46" y="0"/>
                    </a:cubicBezTo>
                    <a:cubicBezTo>
                      <a:pt x="52" y="0"/>
                      <a:pt x="57" y="1"/>
                      <a:pt x="61" y="3"/>
                    </a:cubicBezTo>
                    <a:cubicBezTo>
                      <a:pt x="64" y="5"/>
                      <a:pt x="68" y="8"/>
                      <a:pt x="71" y="12"/>
                    </a:cubicBezTo>
                    <a:cubicBezTo>
                      <a:pt x="75" y="16"/>
                      <a:pt x="77" y="20"/>
                      <a:pt x="78" y="24"/>
                    </a:cubicBezTo>
                    <a:cubicBezTo>
                      <a:pt x="79" y="28"/>
                      <a:pt x="79" y="34"/>
                      <a:pt x="79" y="41"/>
                    </a:cubicBezTo>
                    <a:cubicBezTo>
                      <a:pt x="79" y="47"/>
                      <a:pt x="78" y="55"/>
                      <a:pt x="75" y="64"/>
                    </a:cubicBezTo>
                    <a:cubicBezTo>
                      <a:pt x="72" y="73"/>
                      <a:pt x="68" y="81"/>
                      <a:pt x="62" y="89"/>
                    </a:cubicBezTo>
                    <a:cubicBezTo>
                      <a:pt x="57" y="97"/>
                      <a:pt x="51" y="104"/>
                      <a:pt x="45" y="108"/>
                    </a:cubicBezTo>
                    <a:cubicBezTo>
                      <a:pt x="40" y="112"/>
                      <a:pt x="32" y="115"/>
                      <a:pt x="23" y="115"/>
                    </a:cubicBezTo>
                    <a:moveTo>
                      <a:pt x="13" y="77"/>
                    </a:moveTo>
                    <a:cubicBezTo>
                      <a:pt x="13" y="83"/>
                      <a:pt x="14" y="88"/>
                      <a:pt x="17" y="92"/>
                    </a:cubicBezTo>
                    <a:cubicBezTo>
                      <a:pt x="20" y="96"/>
                      <a:pt x="23" y="98"/>
                      <a:pt x="26" y="98"/>
                    </a:cubicBezTo>
                    <a:cubicBezTo>
                      <a:pt x="36" y="98"/>
                      <a:pt x="45" y="92"/>
                      <a:pt x="53" y="79"/>
                    </a:cubicBezTo>
                    <a:cubicBezTo>
                      <a:pt x="62" y="66"/>
                      <a:pt x="66" y="53"/>
                      <a:pt x="66" y="38"/>
                    </a:cubicBezTo>
                    <a:cubicBezTo>
                      <a:pt x="66" y="33"/>
                      <a:pt x="65" y="29"/>
                      <a:pt x="64" y="26"/>
                    </a:cubicBezTo>
                    <a:cubicBezTo>
                      <a:pt x="62" y="23"/>
                      <a:pt x="60" y="20"/>
                      <a:pt x="57" y="18"/>
                    </a:cubicBezTo>
                    <a:cubicBezTo>
                      <a:pt x="53" y="16"/>
                      <a:pt x="50" y="15"/>
                      <a:pt x="46" y="15"/>
                    </a:cubicBezTo>
                    <a:cubicBezTo>
                      <a:pt x="39" y="15"/>
                      <a:pt x="32" y="22"/>
                      <a:pt x="24" y="36"/>
                    </a:cubicBezTo>
                    <a:cubicBezTo>
                      <a:pt x="17" y="50"/>
                      <a:pt x="13" y="63"/>
                      <a:pt x="13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2" name="Freeform 9"/>
              <p:cNvSpPr>
                <a:spLocks/>
              </p:cNvSpPr>
              <p:nvPr/>
            </p:nvSpPr>
            <p:spPr bwMode="auto">
              <a:xfrm>
                <a:off x="-508000" y="1885950"/>
                <a:ext cx="209550" cy="288925"/>
              </a:xfrm>
              <a:custGeom>
                <a:avLst/>
                <a:gdLst>
                  <a:gd name="T0" fmla="*/ 6 w 56"/>
                  <a:gd name="T1" fmla="*/ 13 h 77"/>
                  <a:gd name="T2" fmla="*/ 6 w 56"/>
                  <a:gd name="T3" fmla="*/ 12 h 77"/>
                  <a:gd name="T4" fmla="*/ 4 w 56"/>
                  <a:gd name="T5" fmla="*/ 8 h 77"/>
                  <a:gd name="T6" fmla="*/ 6 w 56"/>
                  <a:gd name="T7" fmla="*/ 4 h 77"/>
                  <a:gd name="T8" fmla="*/ 10 w 56"/>
                  <a:gd name="T9" fmla="*/ 2 h 77"/>
                  <a:gd name="T10" fmla="*/ 12 w 56"/>
                  <a:gd name="T11" fmla="*/ 2 h 77"/>
                  <a:gd name="T12" fmla="*/ 13 w 56"/>
                  <a:gd name="T13" fmla="*/ 2 h 77"/>
                  <a:gd name="T14" fmla="*/ 31 w 56"/>
                  <a:gd name="T15" fmla="*/ 0 h 77"/>
                  <a:gd name="T16" fmla="*/ 45 w 56"/>
                  <a:gd name="T17" fmla="*/ 5 h 77"/>
                  <a:gd name="T18" fmla="*/ 50 w 56"/>
                  <a:gd name="T19" fmla="*/ 18 h 77"/>
                  <a:gd name="T20" fmla="*/ 45 w 56"/>
                  <a:gd name="T21" fmla="*/ 33 h 77"/>
                  <a:gd name="T22" fmla="*/ 31 w 56"/>
                  <a:gd name="T23" fmla="*/ 44 h 77"/>
                  <a:gd name="T24" fmla="*/ 53 w 56"/>
                  <a:gd name="T25" fmla="*/ 64 h 77"/>
                  <a:gd name="T26" fmla="*/ 56 w 56"/>
                  <a:gd name="T27" fmla="*/ 69 h 77"/>
                  <a:gd name="T28" fmla="*/ 54 w 56"/>
                  <a:gd name="T29" fmla="*/ 73 h 77"/>
                  <a:gd name="T30" fmla="*/ 51 w 56"/>
                  <a:gd name="T31" fmla="*/ 75 h 77"/>
                  <a:gd name="T32" fmla="*/ 45 w 56"/>
                  <a:gd name="T33" fmla="*/ 72 h 77"/>
                  <a:gd name="T34" fmla="*/ 37 w 56"/>
                  <a:gd name="T35" fmla="*/ 64 h 77"/>
                  <a:gd name="T36" fmla="*/ 30 w 56"/>
                  <a:gd name="T37" fmla="*/ 58 h 77"/>
                  <a:gd name="T38" fmla="*/ 19 w 56"/>
                  <a:gd name="T39" fmla="*/ 47 h 77"/>
                  <a:gd name="T40" fmla="*/ 14 w 56"/>
                  <a:gd name="T41" fmla="*/ 42 h 77"/>
                  <a:gd name="T42" fmla="*/ 16 w 56"/>
                  <a:gd name="T43" fmla="*/ 38 h 77"/>
                  <a:gd name="T44" fmla="*/ 21 w 56"/>
                  <a:gd name="T45" fmla="*/ 36 h 77"/>
                  <a:gd name="T46" fmla="*/ 22 w 56"/>
                  <a:gd name="T47" fmla="*/ 36 h 77"/>
                  <a:gd name="T48" fmla="*/ 23 w 56"/>
                  <a:gd name="T49" fmla="*/ 36 h 77"/>
                  <a:gd name="T50" fmla="*/ 33 w 56"/>
                  <a:gd name="T51" fmla="*/ 31 h 77"/>
                  <a:gd name="T52" fmla="*/ 40 w 56"/>
                  <a:gd name="T53" fmla="*/ 18 h 77"/>
                  <a:gd name="T54" fmla="*/ 37 w 56"/>
                  <a:gd name="T55" fmla="*/ 12 h 77"/>
                  <a:gd name="T56" fmla="*/ 30 w 56"/>
                  <a:gd name="T57" fmla="*/ 10 h 77"/>
                  <a:gd name="T58" fmla="*/ 21 w 56"/>
                  <a:gd name="T59" fmla="*/ 11 h 77"/>
                  <a:gd name="T60" fmla="*/ 17 w 56"/>
                  <a:gd name="T61" fmla="*/ 12 h 77"/>
                  <a:gd name="T62" fmla="*/ 16 w 56"/>
                  <a:gd name="T63" fmla="*/ 13 h 77"/>
                  <a:gd name="T64" fmla="*/ 15 w 56"/>
                  <a:gd name="T65" fmla="*/ 24 h 77"/>
                  <a:gd name="T66" fmla="*/ 12 w 56"/>
                  <a:gd name="T67" fmla="*/ 44 h 77"/>
                  <a:gd name="T68" fmla="*/ 11 w 56"/>
                  <a:gd name="T69" fmla="*/ 60 h 77"/>
                  <a:gd name="T70" fmla="*/ 11 w 56"/>
                  <a:gd name="T71" fmla="*/ 66 h 77"/>
                  <a:gd name="T72" fmla="*/ 12 w 56"/>
                  <a:gd name="T73" fmla="*/ 71 h 77"/>
                  <a:gd name="T74" fmla="*/ 10 w 56"/>
                  <a:gd name="T75" fmla="*/ 74 h 77"/>
                  <a:gd name="T76" fmla="*/ 6 w 56"/>
                  <a:gd name="T77" fmla="*/ 77 h 77"/>
                  <a:gd name="T78" fmla="*/ 0 w 56"/>
                  <a:gd name="T79" fmla="*/ 67 h 77"/>
                  <a:gd name="T80" fmla="*/ 2 w 56"/>
                  <a:gd name="T81" fmla="*/ 45 h 77"/>
                  <a:gd name="T82" fmla="*/ 5 w 56"/>
                  <a:gd name="T83" fmla="*/ 20 h 77"/>
                  <a:gd name="T84" fmla="*/ 6 w 56"/>
                  <a:gd name="T85" fmla="*/ 16 h 77"/>
                  <a:gd name="T86" fmla="*/ 6 w 56"/>
                  <a:gd name="T87" fmla="*/ 1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6" h="77">
                    <a:moveTo>
                      <a:pt x="6" y="13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5" y="10"/>
                      <a:pt x="4" y="9"/>
                      <a:pt x="4" y="8"/>
                    </a:cubicBezTo>
                    <a:cubicBezTo>
                      <a:pt x="4" y="6"/>
                      <a:pt x="5" y="5"/>
                      <a:pt x="6" y="4"/>
                    </a:cubicBezTo>
                    <a:cubicBezTo>
                      <a:pt x="8" y="2"/>
                      <a:pt x="9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22" y="1"/>
                      <a:pt x="27" y="0"/>
                      <a:pt x="31" y="0"/>
                    </a:cubicBezTo>
                    <a:cubicBezTo>
                      <a:pt x="37" y="0"/>
                      <a:pt x="41" y="2"/>
                      <a:pt x="45" y="5"/>
                    </a:cubicBezTo>
                    <a:cubicBezTo>
                      <a:pt x="49" y="9"/>
                      <a:pt x="50" y="13"/>
                      <a:pt x="50" y="18"/>
                    </a:cubicBezTo>
                    <a:cubicBezTo>
                      <a:pt x="50" y="23"/>
                      <a:pt x="49" y="28"/>
                      <a:pt x="45" y="33"/>
                    </a:cubicBezTo>
                    <a:cubicBezTo>
                      <a:pt x="42" y="37"/>
                      <a:pt x="37" y="41"/>
                      <a:pt x="31" y="44"/>
                    </a:cubicBezTo>
                    <a:cubicBezTo>
                      <a:pt x="41" y="54"/>
                      <a:pt x="48" y="60"/>
                      <a:pt x="53" y="64"/>
                    </a:cubicBezTo>
                    <a:cubicBezTo>
                      <a:pt x="55" y="65"/>
                      <a:pt x="56" y="67"/>
                      <a:pt x="56" y="69"/>
                    </a:cubicBezTo>
                    <a:cubicBezTo>
                      <a:pt x="56" y="70"/>
                      <a:pt x="55" y="72"/>
                      <a:pt x="54" y="73"/>
                    </a:cubicBezTo>
                    <a:cubicBezTo>
                      <a:pt x="53" y="74"/>
                      <a:pt x="52" y="75"/>
                      <a:pt x="51" y="75"/>
                    </a:cubicBezTo>
                    <a:cubicBezTo>
                      <a:pt x="49" y="75"/>
                      <a:pt x="47" y="74"/>
                      <a:pt x="45" y="72"/>
                    </a:cubicBezTo>
                    <a:cubicBezTo>
                      <a:pt x="43" y="71"/>
                      <a:pt x="40" y="68"/>
                      <a:pt x="37" y="64"/>
                    </a:cubicBezTo>
                    <a:cubicBezTo>
                      <a:pt x="33" y="61"/>
                      <a:pt x="31" y="59"/>
                      <a:pt x="30" y="58"/>
                    </a:cubicBezTo>
                    <a:cubicBezTo>
                      <a:pt x="25" y="53"/>
                      <a:pt x="21" y="49"/>
                      <a:pt x="19" y="47"/>
                    </a:cubicBezTo>
                    <a:cubicBezTo>
                      <a:pt x="16" y="47"/>
                      <a:pt x="14" y="45"/>
                      <a:pt x="14" y="42"/>
                    </a:cubicBezTo>
                    <a:cubicBezTo>
                      <a:pt x="14" y="40"/>
                      <a:pt x="15" y="39"/>
                      <a:pt x="16" y="38"/>
                    </a:cubicBezTo>
                    <a:cubicBezTo>
                      <a:pt x="18" y="36"/>
                      <a:pt x="19" y="36"/>
                      <a:pt x="21" y="36"/>
                    </a:cubicBezTo>
                    <a:cubicBezTo>
                      <a:pt x="21" y="36"/>
                      <a:pt x="22" y="36"/>
                      <a:pt x="22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5" y="36"/>
                      <a:pt x="28" y="35"/>
                      <a:pt x="33" y="31"/>
                    </a:cubicBezTo>
                    <a:cubicBezTo>
                      <a:pt x="38" y="27"/>
                      <a:pt x="40" y="23"/>
                      <a:pt x="40" y="18"/>
                    </a:cubicBezTo>
                    <a:cubicBezTo>
                      <a:pt x="40" y="16"/>
                      <a:pt x="39" y="14"/>
                      <a:pt x="37" y="12"/>
                    </a:cubicBezTo>
                    <a:cubicBezTo>
                      <a:pt x="35" y="11"/>
                      <a:pt x="33" y="10"/>
                      <a:pt x="30" y="10"/>
                    </a:cubicBezTo>
                    <a:cubicBezTo>
                      <a:pt x="26" y="10"/>
                      <a:pt x="23" y="10"/>
                      <a:pt x="21" y="11"/>
                    </a:cubicBezTo>
                    <a:cubicBezTo>
                      <a:pt x="19" y="11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6" y="13"/>
                    </a:cubicBezTo>
                    <a:cubicBezTo>
                      <a:pt x="16" y="14"/>
                      <a:pt x="16" y="18"/>
                      <a:pt x="15" y="24"/>
                    </a:cubicBezTo>
                    <a:cubicBezTo>
                      <a:pt x="14" y="30"/>
                      <a:pt x="13" y="37"/>
                      <a:pt x="12" y="44"/>
                    </a:cubicBezTo>
                    <a:cubicBezTo>
                      <a:pt x="11" y="51"/>
                      <a:pt x="11" y="57"/>
                      <a:pt x="11" y="60"/>
                    </a:cubicBezTo>
                    <a:cubicBezTo>
                      <a:pt x="11" y="62"/>
                      <a:pt x="11" y="64"/>
                      <a:pt x="11" y="66"/>
                    </a:cubicBezTo>
                    <a:cubicBezTo>
                      <a:pt x="12" y="68"/>
                      <a:pt x="12" y="69"/>
                      <a:pt x="12" y="71"/>
                    </a:cubicBezTo>
                    <a:cubicBezTo>
                      <a:pt x="12" y="72"/>
                      <a:pt x="11" y="73"/>
                      <a:pt x="10" y="74"/>
                    </a:cubicBezTo>
                    <a:cubicBezTo>
                      <a:pt x="9" y="76"/>
                      <a:pt x="8" y="77"/>
                      <a:pt x="6" y="77"/>
                    </a:cubicBezTo>
                    <a:cubicBezTo>
                      <a:pt x="2" y="77"/>
                      <a:pt x="0" y="73"/>
                      <a:pt x="0" y="67"/>
                    </a:cubicBezTo>
                    <a:cubicBezTo>
                      <a:pt x="0" y="62"/>
                      <a:pt x="1" y="54"/>
                      <a:pt x="2" y="45"/>
                    </a:cubicBezTo>
                    <a:cubicBezTo>
                      <a:pt x="3" y="35"/>
                      <a:pt x="4" y="27"/>
                      <a:pt x="5" y="20"/>
                    </a:cubicBezTo>
                    <a:cubicBezTo>
                      <a:pt x="5" y="18"/>
                      <a:pt x="6" y="17"/>
                      <a:pt x="6" y="16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3" name="Freeform 10"/>
              <p:cNvSpPr>
                <a:spLocks/>
              </p:cNvSpPr>
              <p:nvPr/>
            </p:nvSpPr>
            <p:spPr bwMode="auto">
              <a:xfrm>
                <a:off x="-1928813" y="1885950"/>
                <a:ext cx="60325" cy="285750"/>
              </a:xfrm>
              <a:custGeom>
                <a:avLst/>
                <a:gdLst>
                  <a:gd name="T0" fmla="*/ 15 w 16"/>
                  <a:gd name="T1" fmla="*/ 62 h 76"/>
                  <a:gd name="T2" fmla="*/ 10 w 16"/>
                  <a:gd name="T3" fmla="*/ 44 h 76"/>
                  <a:gd name="T4" fmla="*/ 12 w 16"/>
                  <a:gd name="T5" fmla="*/ 31 h 76"/>
                  <a:gd name="T6" fmla="*/ 13 w 16"/>
                  <a:gd name="T7" fmla="*/ 18 h 76"/>
                  <a:gd name="T8" fmla="*/ 15 w 16"/>
                  <a:gd name="T9" fmla="*/ 7 h 76"/>
                  <a:gd name="T10" fmla="*/ 14 w 16"/>
                  <a:gd name="T11" fmla="*/ 3 h 76"/>
                  <a:gd name="T12" fmla="*/ 11 w 16"/>
                  <a:gd name="T13" fmla="*/ 0 h 76"/>
                  <a:gd name="T14" fmla="*/ 6 w 16"/>
                  <a:gd name="T15" fmla="*/ 3 h 76"/>
                  <a:gd name="T16" fmla="*/ 4 w 16"/>
                  <a:gd name="T17" fmla="*/ 11 h 76"/>
                  <a:gd name="T18" fmla="*/ 3 w 16"/>
                  <a:gd name="T19" fmla="*/ 18 h 76"/>
                  <a:gd name="T20" fmla="*/ 3 w 16"/>
                  <a:gd name="T21" fmla="*/ 23 h 76"/>
                  <a:gd name="T22" fmla="*/ 1 w 16"/>
                  <a:gd name="T23" fmla="*/ 32 h 76"/>
                  <a:gd name="T24" fmla="*/ 0 w 16"/>
                  <a:gd name="T25" fmla="*/ 45 h 76"/>
                  <a:gd name="T26" fmla="*/ 3 w 16"/>
                  <a:gd name="T27" fmla="*/ 62 h 76"/>
                  <a:gd name="T28" fmla="*/ 13 w 16"/>
                  <a:gd name="T29" fmla="*/ 74 h 76"/>
                  <a:gd name="T30" fmla="*/ 16 w 16"/>
                  <a:gd name="T31" fmla="*/ 76 h 76"/>
                  <a:gd name="T32" fmla="*/ 16 w 16"/>
                  <a:gd name="T33" fmla="*/ 62 h 76"/>
                  <a:gd name="T34" fmla="*/ 15 w 16"/>
                  <a:gd name="T35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76">
                    <a:moveTo>
                      <a:pt x="15" y="62"/>
                    </a:moveTo>
                    <a:cubicBezTo>
                      <a:pt x="12" y="59"/>
                      <a:pt x="10" y="53"/>
                      <a:pt x="10" y="44"/>
                    </a:cubicBezTo>
                    <a:cubicBezTo>
                      <a:pt x="10" y="42"/>
                      <a:pt x="11" y="37"/>
                      <a:pt x="12" y="31"/>
                    </a:cubicBezTo>
                    <a:cubicBezTo>
                      <a:pt x="12" y="24"/>
                      <a:pt x="13" y="20"/>
                      <a:pt x="13" y="18"/>
                    </a:cubicBezTo>
                    <a:cubicBezTo>
                      <a:pt x="15" y="12"/>
                      <a:pt x="15" y="8"/>
                      <a:pt x="15" y="7"/>
                    </a:cubicBezTo>
                    <a:cubicBezTo>
                      <a:pt x="15" y="6"/>
                      <a:pt x="15" y="5"/>
                      <a:pt x="14" y="3"/>
                    </a:cubicBezTo>
                    <a:cubicBezTo>
                      <a:pt x="13" y="1"/>
                      <a:pt x="12" y="0"/>
                      <a:pt x="11" y="0"/>
                    </a:cubicBezTo>
                    <a:cubicBezTo>
                      <a:pt x="9" y="0"/>
                      <a:pt x="7" y="1"/>
                      <a:pt x="6" y="3"/>
                    </a:cubicBezTo>
                    <a:cubicBezTo>
                      <a:pt x="5" y="5"/>
                      <a:pt x="5" y="8"/>
                      <a:pt x="4" y="11"/>
                    </a:cubicBezTo>
                    <a:cubicBezTo>
                      <a:pt x="4" y="13"/>
                      <a:pt x="4" y="16"/>
                      <a:pt x="3" y="18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7"/>
                      <a:pt x="0" y="42"/>
                      <a:pt x="0" y="45"/>
                    </a:cubicBezTo>
                    <a:cubicBezTo>
                      <a:pt x="0" y="51"/>
                      <a:pt x="1" y="57"/>
                      <a:pt x="3" y="62"/>
                    </a:cubicBezTo>
                    <a:cubicBezTo>
                      <a:pt x="6" y="68"/>
                      <a:pt x="9" y="72"/>
                      <a:pt x="13" y="74"/>
                    </a:cubicBezTo>
                    <a:cubicBezTo>
                      <a:pt x="14" y="75"/>
                      <a:pt x="15" y="75"/>
                      <a:pt x="16" y="76"/>
                    </a:cubicBezTo>
                    <a:cubicBezTo>
                      <a:pt x="16" y="71"/>
                      <a:pt x="16" y="67"/>
                      <a:pt x="16" y="62"/>
                    </a:cubicBezTo>
                    <a:cubicBezTo>
                      <a:pt x="15" y="62"/>
                      <a:pt x="15" y="62"/>
                      <a:pt x="15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4" name="Freeform 11"/>
              <p:cNvSpPr>
                <a:spLocks/>
              </p:cNvSpPr>
              <p:nvPr/>
            </p:nvSpPr>
            <p:spPr bwMode="auto">
              <a:xfrm>
                <a:off x="-1719263" y="1866900"/>
                <a:ext cx="123825" cy="109538"/>
              </a:xfrm>
              <a:custGeom>
                <a:avLst/>
                <a:gdLst>
                  <a:gd name="T0" fmla="*/ 0 w 33"/>
                  <a:gd name="T1" fmla="*/ 13 h 29"/>
                  <a:gd name="T2" fmla="*/ 0 w 33"/>
                  <a:gd name="T3" fmla="*/ 19 h 29"/>
                  <a:gd name="T4" fmla="*/ 11 w 33"/>
                  <a:gd name="T5" fmla="*/ 16 h 29"/>
                  <a:gd name="T6" fmla="*/ 19 w 33"/>
                  <a:gd name="T7" fmla="*/ 19 h 29"/>
                  <a:gd name="T8" fmla="*/ 22 w 33"/>
                  <a:gd name="T9" fmla="*/ 29 h 29"/>
                  <a:gd name="T10" fmla="*/ 33 w 33"/>
                  <a:gd name="T11" fmla="*/ 16 h 29"/>
                  <a:gd name="T12" fmla="*/ 27 w 33"/>
                  <a:gd name="T13" fmla="*/ 5 h 29"/>
                  <a:gd name="T14" fmla="*/ 13 w 33"/>
                  <a:gd name="T15" fmla="*/ 0 h 29"/>
                  <a:gd name="T16" fmla="*/ 5 w 33"/>
                  <a:gd name="T17" fmla="*/ 1 h 29"/>
                  <a:gd name="T18" fmla="*/ 0 w 33"/>
                  <a:gd name="T19" fmla="*/ 11 h 29"/>
                  <a:gd name="T20" fmla="*/ 0 w 33"/>
                  <a:gd name="T2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0" y="13"/>
                    </a:moveTo>
                    <a:cubicBezTo>
                      <a:pt x="0" y="15"/>
                      <a:pt x="0" y="17"/>
                      <a:pt x="0" y="19"/>
                    </a:cubicBezTo>
                    <a:cubicBezTo>
                      <a:pt x="3" y="17"/>
                      <a:pt x="7" y="16"/>
                      <a:pt x="11" y="16"/>
                    </a:cubicBezTo>
                    <a:cubicBezTo>
                      <a:pt x="15" y="16"/>
                      <a:pt x="18" y="17"/>
                      <a:pt x="19" y="19"/>
                    </a:cubicBezTo>
                    <a:cubicBezTo>
                      <a:pt x="21" y="21"/>
                      <a:pt x="22" y="24"/>
                      <a:pt x="22" y="29"/>
                    </a:cubicBezTo>
                    <a:cubicBezTo>
                      <a:pt x="29" y="29"/>
                      <a:pt x="33" y="25"/>
                      <a:pt x="33" y="16"/>
                    </a:cubicBezTo>
                    <a:cubicBezTo>
                      <a:pt x="33" y="12"/>
                      <a:pt x="31" y="8"/>
                      <a:pt x="27" y="5"/>
                    </a:cubicBezTo>
                    <a:cubicBezTo>
                      <a:pt x="24" y="2"/>
                      <a:pt x="19" y="0"/>
                      <a:pt x="13" y="0"/>
                    </a:cubicBezTo>
                    <a:cubicBezTo>
                      <a:pt x="10" y="0"/>
                      <a:pt x="7" y="0"/>
                      <a:pt x="5" y="1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0" y="12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5" name="Freeform 12"/>
              <p:cNvSpPr>
                <a:spLocks/>
              </p:cNvSpPr>
              <p:nvPr/>
            </p:nvSpPr>
            <p:spPr bwMode="auto">
              <a:xfrm>
                <a:off x="-1741488" y="2047875"/>
                <a:ext cx="134938" cy="242888"/>
              </a:xfrm>
              <a:custGeom>
                <a:avLst/>
                <a:gdLst>
                  <a:gd name="T0" fmla="*/ 36 w 36"/>
                  <a:gd name="T1" fmla="*/ 30 h 65"/>
                  <a:gd name="T2" fmla="*/ 30 w 36"/>
                  <a:gd name="T3" fmla="*/ 15 h 65"/>
                  <a:gd name="T4" fmla="*/ 11 w 36"/>
                  <a:gd name="T5" fmla="*/ 4 h 65"/>
                  <a:gd name="T6" fmla="*/ 3 w 36"/>
                  <a:gd name="T7" fmla="*/ 0 h 65"/>
                  <a:gd name="T8" fmla="*/ 0 w 36"/>
                  <a:gd name="T9" fmla="*/ 16 h 65"/>
                  <a:gd name="T10" fmla="*/ 0 w 36"/>
                  <a:gd name="T11" fmla="*/ 16 h 65"/>
                  <a:gd name="T12" fmla="*/ 9 w 36"/>
                  <a:gd name="T13" fmla="*/ 21 h 65"/>
                  <a:gd name="T14" fmla="*/ 20 w 36"/>
                  <a:gd name="T15" fmla="*/ 27 h 65"/>
                  <a:gd name="T16" fmla="*/ 23 w 36"/>
                  <a:gd name="T17" fmla="*/ 32 h 65"/>
                  <a:gd name="T18" fmla="*/ 12 w 36"/>
                  <a:gd name="T19" fmla="*/ 45 h 65"/>
                  <a:gd name="T20" fmla="*/ 0 w 36"/>
                  <a:gd name="T21" fmla="*/ 50 h 65"/>
                  <a:gd name="T22" fmla="*/ 5 w 36"/>
                  <a:gd name="T23" fmla="*/ 65 h 65"/>
                  <a:gd name="T24" fmla="*/ 20 w 36"/>
                  <a:gd name="T25" fmla="*/ 57 h 65"/>
                  <a:gd name="T26" fmla="*/ 36 w 36"/>
                  <a:gd name="T27" fmla="*/ 3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65">
                    <a:moveTo>
                      <a:pt x="36" y="30"/>
                    </a:moveTo>
                    <a:cubicBezTo>
                      <a:pt x="36" y="24"/>
                      <a:pt x="34" y="20"/>
                      <a:pt x="30" y="15"/>
                    </a:cubicBezTo>
                    <a:cubicBezTo>
                      <a:pt x="26" y="11"/>
                      <a:pt x="19" y="8"/>
                      <a:pt x="11" y="4"/>
                    </a:cubicBezTo>
                    <a:cubicBezTo>
                      <a:pt x="8" y="3"/>
                      <a:pt x="5" y="2"/>
                      <a:pt x="3" y="0"/>
                    </a:cubicBezTo>
                    <a:cubicBezTo>
                      <a:pt x="2" y="7"/>
                      <a:pt x="1" y="13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9"/>
                      <a:pt x="9" y="21"/>
                    </a:cubicBezTo>
                    <a:cubicBezTo>
                      <a:pt x="15" y="23"/>
                      <a:pt x="18" y="25"/>
                      <a:pt x="20" y="27"/>
                    </a:cubicBezTo>
                    <a:cubicBezTo>
                      <a:pt x="22" y="29"/>
                      <a:pt x="23" y="30"/>
                      <a:pt x="23" y="32"/>
                    </a:cubicBezTo>
                    <a:cubicBezTo>
                      <a:pt x="23" y="36"/>
                      <a:pt x="19" y="40"/>
                      <a:pt x="12" y="45"/>
                    </a:cubicBezTo>
                    <a:cubicBezTo>
                      <a:pt x="8" y="47"/>
                      <a:pt x="4" y="49"/>
                      <a:pt x="0" y="50"/>
                    </a:cubicBezTo>
                    <a:cubicBezTo>
                      <a:pt x="1" y="55"/>
                      <a:pt x="3" y="60"/>
                      <a:pt x="5" y="65"/>
                    </a:cubicBezTo>
                    <a:cubicBezTo>
                      <a:pt x="10" y="63"/>
                      <a:pt x="15" y="60"/>
                      <a:pt x="20" y="57"/>
                    </a:cubicBezTo>
                    <a:cubicBezTo>
                      <a:pt x="31" y="49"/>
                      <a:pt x="36" y="4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6" name="Freeform 13"/>
              <p:cNvSpPr>
                <a:spLocks/>
              </p:cNvSpPr>
              <p:nvPr/>
            </p:nvSpPr>
            <p:spPr bwMode="auto">
              <a:xfrm>
                <a:off x="-957263" y="1874838"/>
                <a:ext cx="254000" cy="420688"/>
              </a:xfrm>
              <a:custGeom>
                <a:avLst/>
                <a:gdLst>
                  <a:gd name="T0" fmla="*/ 43 w 68"/>
                  <a:gd name="T1" fmla="*/ 62 h 112"/>
                  <a:gd name="T2" fmla="*/ 37 w 68"/>
                  <a:gd name="T3" fmla="*/ 40 h 112"/>
                  <a:gd name="T4" fmla="*/ 30 w 68"/>
                  <a:gd name="T5" fmla="*/ 11 h 112"/>
                  <a:gd name="T6" fmla="*/ 30 w 68"/>
                  <a:gd name="T7" fmla="*/ 11 h 112"/>
                  <a:gd name="T8" fmla="*/ 27 w 68"/>
                  <a:gd name="T9" fmla="*/ 4 h 112"/>
                  <a:gd name="T10" fmla="*/ 23 w 68"/>
                  <a:gd name="T11" fmla="*/ 0 h 112"/>
                  <a:gd name="T12" fmla="*/ 16 w 68"/>
                  <a:gd name="T13" fmla="*/ 2 h 112"/>
                  <a:gd name="T14" fmla="*/ 13 w 68"/>
                  <a:gd name="T15" fmla="*/ 8 h 112"/>
                  <a:gd name="T16" fmla="*/ 12 w 68"/>
                  <a:gd name="T17" fmla="*/ 28 h 112"/>
                  <a:gd name="T18" fmla="*/ 2 w 68"/>
                  <a:gd name="T19" fmla="*/ 84 h 112"/>
                  <a:gd name="T20" fmla="*/ 0 w 68"/>
                  <a:gd name="T21" fmla="*/ 102 h 112"/>
                  <a:gd name="T22" fmla="*/ 2 w 68"/>
                  <a:gd name="T23" fmla="*/ 109 h 112"/>
                  <a:gd name="T24" fmla="*/ 7 w 68"/>
                  <a:gd name="T25" fmla="*/ 112 h 112"/>
                  <a:gd name="T26" fmla="*/ 11 w 68"/>
                  <a:gd name="T27" fmla="*/ 110 h 112"/>
                  <a:gd name="T28" fmla="*/ 13 w 68"/>
                  <a:gd name="T29" fmla="*/ 106 h 112"/>
                  <a:gd name="T30" fmla="*/ 15 w 68"/>
                  <a:gd name="T31" fmla="*/ 89 h 112"/>
                  <a:gd name="T32" fmla="*/ 18 w 68"/>
                  <a:gd name="T33" fmla="*/ 71 h 112"/>
                  <a:gd name="T34" fmla="*/ 21 w 68"/>
                  <a:gd name="T35" fmla="*/ 53 h 112"/>
                  <a:gd name="T36" fmla="*/ 24 w 68"/>
                  <a:gd name="T37" fmla="*/ 34 h 112"/>
                  <a:gd name="T38" fmla="*/ 27 w 68"/>
                  <a:gd name="T39" fmla="*/ 48 h 112"/>
                  <a:gd name="T40" fmla="*/ 30 w 68"/>
                  <a:gd name="T41" fmla="*/ 63 h 112"/>
                  <a:gd name="T42" fmla="*/ 35 w 68"/>
                  <a:gd name="T43" fmla="*/ 78 h 112"/>
                  <a:gd name="T44" fmla="*/ 41 w 68"/>
                  <a:gd name="T45" fmla="*/ 83 h 112"/>
                  <a:gd name="T46" fmla="*/ 60 w 68"/>
                  <a:gd name="T47" fmla="*/ 59 h 112"/>
                  <a:gd name="T48" fmla="*/ 67 w 68"/>
                  <a:gd name="T49" fmla="*/ 45 h 112"/>
                  <a:gd name="T50" fmla="*/ 68 w 68"/>
                  <a:gd name="T51" fmla="*/ 41 h 112"/>
                  <a:gd name="T52" fmla="*/ 68 w 68"/>
                  <a:gd name="T53" fmla="*/ 40 h 112"/>
                  <a:gd name="T54" fmla="*/ 64 w 68"/>
                  <a:gd name="T55" fmla="*/ 25 h 112"/>
                  <a:gd name="T56" fmla="*/ 60 w 68"/>
                  <a:gd name="T57" fmla="*/ 32 h 112"/>
                  <a:gd name="T58" fmla="*/ 43 w 68"/>
                  <a:gd name="T59" fmla="*/ 6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8" h="112">
                    <a:moveTo>
                      <a:pt x="43" y="62"/>
                    </a:moveTo>
                    <a:cubicBezTo>
                      <a:pt x="42" y="59"/>
                      <a:pt x="40" y="52"/>
                      <a:pt x="37" y="40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29" y="9"/>
                      <a:pt x="28" y="6"/>
                      <a:pt x="27" y="4"/>
                    </a:cubicBezTo>
                    <a:cubicBezTo>
                      <a:pt x="26" y="1"/>
                      <a:pt x="24" y="0"/>
                      <a:pt x="23" y="0"/>
                    </a:cubicBezTo>
                    <a:cubicBezTo>
                      <a:pt x="20" y="0"/>
                      <a:pt x="18" y="0"/>
                      <a:pt x="16" y="2"/>
                    </a:cubicBezTo>
                    <a:cubicBezTo>
                      <a:pt x="14" y="3"/>
                      <a:pt x="13" y="5"/>
                      <a:pt x="13" y="8"/>
                    </a:cubicBezTo>
                    <a:cubicBezTo>
                      <a:pt x="13" y="13"/>
                      <a:pt x="13" y="20"/>
                      <a:pt x="12" y="28"/>
                    </a:cubicBezTo>
                    <a:cubicBezTo>
                      <a:pt x="11" y="35"/>
                      <a:pt x="8" y="54"/>
                      <a:pt x="2" y="84"/>
                    </a:cubicBezTo>
                    <a:cubicBezTo>
                      <a:pt x="1" y="92"/>
                      <a:pt x="0" y="98"/>
                      <a:pt x="0" y="102"/>
                    </a:cubicBezTo>
                    <a:cubicBezTo>
                      <a:pt x="0" y="105"/>
                      <a:pt x="1" y="107"/>
                      <a:pt x="2" y="109"/>
                    </a:cubicBezTo>
                    <a:cubicBezTo>
                      <a:pt x="4" y="111"/>
                      <a:pt x="5" y="112"/>
                      <a:pt x="7" y="112"/>
                    </a:cubicBezTo>
                    <a:cubicBezTo>
                      <a:pt x="8" y="112"/>
                      <a:pt x="9" y="111"/>
                      <a:pt x="11" y="110"/>
                    </a:cubicBezTo>
                    <a:cubicBezTo>
                      <a:pt x="12" y="109"/>
                      <a:pt x="13" y="107"/>
                      <a:pt x="13" y="106"/>
                    </a:cubicBezTo>
                    <a:cubicBezTo>
                      <a:pt x="14" y="102"/>
                      <a:pt x="14" y="97"/>
                      <a:pt x="15" y="89"/>
                    </a:cubicBezTo>
                    <a:cubicBezTo>
                      <a:pt x="16" y="82"/>
                      <a:pt x="17" y="76"/>
                      <a:pt x="18" y="71"/>
                    </a:cubicBezTo>
                    <a:cubicBezTo>
                      <a:pt x="19" y="65"/>
                      <a:pt x="20" y="60"/>
                      <a:pt x="21" y="5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5" y="40"/>
                      <a:pt x="27" y="48"/>
                    </a:cubicBezTo>
                    <a:cubicBezTo>
                      <a:pt x="27" y="51"/>
                      <a:pt x="28" y="56"/>
                      <a:pt x="30" y="63"/>
                    </a:cubicBezTo>
                    <a:cubicBezTo>
                      <a:pt x="32" y="70"/>
                      <a:pt x="34" y="75"/>
                      <a:pt x="35" y="78"/>
                    </a:cubicBezTo>
                    <a:cubicBezTo>
                      <a:pt x="37" y="81"/>
                      <a:pt x="39" y="83"/>
                      <a:pt x="41" y="83"/>
                    </a:cubicBezTo>
                    <a:cubicBezTo>
                      <a:pt x="45" y="83"/>
                      <a:pt x="52" y="75"/>
                      <a:pt x="60" y="59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4"/>
                      <a:pt x="68" y="42"/>
                      <a:pt x="68" y="41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7" y="35"/>
                      <a:pt x="66" y="30"/>
                      <a:pt x="64" y="25"/>
                    </a:cubicBezTo>
                    <a:cubicBezTo>
                      <a:pt x="63" y="27"/>
                      <a:pt x="62" y="29"/>
                      <a:pt x="60" y="32"/>
                    </a:cubicBezTo>
                    <a:cubicBezTo>
                      <a:pt x="53" y="46"/>
                      <a:pt x="47" y="56"/>
                      <a:pt x="4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7" name="Freeform 14"/>
              <p:cNvSpPr>
                <a:spLocks/>
              </p:cNvSpPr>
              <p:nvPr/>
            </p:nvSpPr>
            <p:spPr bwMode="auto">
              <a:xfrm>
                <a:off x="-582613" y="2119313"/>
                <a:ext cx="38100" cy="44450"/>
              </a:xfrm>
              <a:custGeom>
                <a:avLst/>
                <a:gdLst>
                  <a:gd name="T0" fmla="*/ 8 w 10"/>
                  <a:gd name="T1" fmla="*/ 9 h 12"/>
                  <a:gd name="T2" fmla="*/ 10 w 10"/>
                  <a:gd name="T3" fmla="*/ 6 h 12"/>
                  <a:gd name="T4" fmla="*/ 4 w 10"/>
                  <a:gd name="T5" fmla="*/ 0 h 12"/>
                  <a:gd name="T6" fmla="*/ 0 w 10"/>
                  <a:gd name="T7" fmla="*/ 0 h 12"/>
                  <a:gd name="T8" fmla="*/ 0 w 10"/>
                  <a:gd name="T9" fmla="*/ 12 h 12"/>
                  <a:gd name="T10" fmla="*/ 8 w 10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8" y="9"/>
                    </a:moveTo>
                    <a:cubicBezTo>
                      <a:pt x="9" y="9"/>
                      <a:pt x="10" y="7"/>
                      <a:pt x="10" y="6"/>
                    </a:cubicBezTo>
                    <a:cubicBezTo>
                      <a:pt x="10" y="2"/>
                      <a:pt x="8" y="0"/>
                      <a:pt x="4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4"/>
                      <a:pt x="0" y="8"/>
                      <a:pt x="0" y="12"/>
                    </a:cubicBezTo>
                    <a:cubicBezTo>
                      <a:pt x="3" y="11"/>
                      <a:pt x="6" y="11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8" name="Freeform 15"/>
              <p:cNvSpPr>
                <a:spLocks/>
              </p:cNvSpPr>
              <p:nvPr/>
            </p:nvSpPr>
            <p:spPr bwMode="auto">
              <a:xfrm>
                <a:off x="-615950" y="1882775"/>
                <a:ext cx="85725" cy="47625"/>
              </a:xfrm>
              <a:custGeom>
                <a:avLst/>
                <a:gdLst>
                  <a:gd name="T0" fmla="*/ 0 w 23"/>
                  <a:gd name="T1" fmla="*/ 8 h 13"/>
                  <a:gd name="T2" fmla="*/ 2 w 23"/>
                  <a:gd name="T3" fmla="*/ 13 h 13"/>
                  <a:gd name="T4" fmla="*/ 6 w 23"/>
                  <a:gd name="T5" fmla="*/ 13 h 13"/>
                  <a:gd name="T6" fmla="*/ 19 w 23"/>
                  <a:gd name="T7" fmla="*/ 12 h 13"/>
                  <a:gd name="T8" fmla="*/ 22 w 23"/>
                  <a:gd name="T9" fmla="*/ 10 h 13"/>
                  <a:gd name="T10" fmla="*/ 23 w 23"/>
                  <a:gd name="T11" fmla="*/ 7 h 13"/>
                  <a:gd name="T12" fmla="*/ 16 w 23"/>
                  <a:gd name="T13" fmla="*/ 1 h 13"/>
                  <a:gd name="T14" fmla="*/ 15 w 23"/>
                  <a:gd name="T15" fmla="*/ 1 h 13"/>
                  <a:gd name="T16" fmla="*/ 8 w 23"/>
                  <a:gd name="T17" fmla="*/ 2 h 13"/>
                  <a:gd name="T18" fmla="*/ 0 w 23"/>
                  <a:gd name="T19" fmla="*/ 3 h 13"/>
                  <a:gd name="T20" fmla="*/ 0 w 23"/>
                  <a:gd name="T21" fmla="*/ 4 h 13"/>
                  <a:gd name="T22" fmla="*/ 0 w 23"/>
                  <a:gd name="T2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13">
                    <a:moveTo>
                      <a:pt x="0" y="8"/>
                    </a:moveTo>
                    <a:cubicBezTo>
                      <a:pt x="0" y="10"/>
                      <a:pt x="1" y="11"/>
                      <a:pt x="2" y="13"/>
                    </a:cubicBezTo>
                    <a:cubicBezTo>
                      <a:pt x="3" y="13"/>
                      <a:pt x="5" y="13"/>
                      <a:pt x="6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0" y="12"/>
                      <a:pt x="21" y="11"/>
                      <a:pt x="22" y="10"/>
                    </a:cubicBezTo>
                    <a:cubicBezTo>
                      <a:pt x="22" y="9"/>
                      <a:pt x="23" y="8"/>
                      <a:pt x="23" y="7"/>
                    </a:cubicBezTo>
                    <a:cubicBezTo>
                      <a:pt x="23" y="2"/>
                      <a:pt x="20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3" y="1"/>
                      <a:pt x="8" y="2"/>
                    </a:cubicBezTo>
                    <a:cubicBezTo>
                      <a:pt x="5" y="2"/>
                      <a:pt x="2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9" name="Freeform 16"/>
              <p:cNvSpPr>
                <a:spLocks/>
              </p:cNvSpPr>
              <p:nvPr/>
            </p:nvSpPr>
            <p:spPr bwMode="auto">
              <a:xfrm>
                <a:off x="-590550" y="2001838"/>
                <a:ext cx="38100" cy="46038"/>
              </a:xfrm>
              <a:custGeom>
                <a:avLst/>
                <a:gdLst>
                  <a:gd name="T0" fmla="*/ 2 w 10"/>
                  <a:gd name="T1" fmla="*/ 12 h 12"/>
                  <a:gd name="T2" fmla="*/ 8 w 10"/>
                  <a:gd name="T3" fmla="*/ 10 h 12"/>
                  <a:gd name="T4" fmla="*/ 10 w 10"/>
                  <a:gd name="T5" fmla="*/ 5 h 12"/>
                  <a:gd name="T6" fmla="*/ 3 w 10"/>
                  <a:gd name="T7" fmla="*/ 0 h 12"/>
                  <a:gd name="T8" fmla="*/ 0 w 10"/>
                  <a:gd name="T9" fmla="*/ 0 h 12"/>
                  <a:gd name="T10" fmla="*/ 1 w 10"/>
                  <a:gd name="T11" fmla="*/ 12 h 12"/>
                  <a:gd name="T12" fmla="*/ 2 w 1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12"/>
                    </a:moveTo>
                    <a:cubicBezTo>
                      <a:pt x="5" y="11"/>
                      <a:pt x="7" y="11"/>
                      <a:pt x="8" y="10"/>
                    </a:cubicBezTo>
                    <a:cubicBezTo>
                      <a:pt x="9" y="9"/>
                      <a:pt x="10" y="7"/>
                      <a:pt x="10" y="5"/>
                    </a:cubicBezTo>
                    <a:cubicBezTo>
                      <a:pt x="10" y="2"/>
                      <a:pt x="8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4"/>
                      <a:pt x="1" y="8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0" name="Freeform 17"/>
              <p:cNvSpPr>
                <a:spLocks noEditPoints="1"/>
              </p:cNvSpPr>
              <p:nvPr/>
            </p:nvSpPr>
            <p:spPr bwMode="auto">
              <a:xfrm>
                <a:off x="-1774825" y="1574800"/>
                <a:ext cx="1093788" cy="1057275"/>
              </a:xfrm>
              <a:custGeom>
                <a:avLst/>
                <a:gdLst>
                  <a:gd name="T0" fmla="*/ 55 w 292"/>
                  <a:gd name="T1" fmla="*/ 34 h 282"/>
                  <a:gd name="T2" fmla="*/ 49 w 292"/>
                  <a:gd name="T3" fmla="*/ 34 h 282"/>
                  <a:gd name="T4" fmla="*/ 26 w 292"/>
                  <a:gd name="T5" fmla="*/ 61 h 282"/>
                  <a:gd name="T6" fmla="*/ 6 w 292"/>
                  <a:gd name="T7" fmla="*/ 98 h 282"/>
                  <a:gd name="T8" fmla="*/ 1 w 292"/>
                  <a:gd name="T9" fmla="*/ 141 h 282"/>
                  <a:gd name="T10" fmla="*/ 5 w 292"/>
                  <a:gd name="T11" fmla="*/ 176 h 282"/>
                  <a:gd name="T12" fmla="*/ 10 w 292"/>
                  <a:gd name="T13" fmla="*/ 195 h 282"/>
                  <a:gd name="T14" fmla="*/ 25 w 292"/>
                  <a:gd name="T15" fmla="*/ 221 h 282"/>
                  <a:gd name="T16" fmla="*/ 53 w 292"/>
                  <a:gd name="T17" fmla="*/ 250 h 282"/>
                  <a:gd name="T18" fmla="*/ 82 w 292"/>
                  <a:gd name="T19" fmla="*/ 267 h 282"/>
                  <a:gd name="T20" fmla="*/ 131 w 292"/>
                  <a:gd name="T21" fmla="*/ 281 h 282"/>
                  <a:gd name="T22" fmla="*/ 159 w 292"/>
                  <a:gd name="T23" fmla="*/ 281 h 282"/>
                  <a:gd name="T24" fmla="*/ 214 w 292"/>
                  <a:gd name="T25" fmla="*/ 266 h 282"/>
                  <a:gd name="T26" fmla="*/ 250 w 292"/>
                  <a:gd name="T27" fmla="*/ 239 h 282"/>
                  <a:gd name="T28" fmla="*/ 278 w 292"/>
                  <a:gd name="T29" fmla="*/ 197 h 282"/>
                  <a:gd name="T30" fmla="*/ 288 w 292"/>
                  <a:gd name="T31" fmla="*/ 174 h 282"/>
                  <a:gd name="T32" fmla="*/ 292 w 292"/>
                  <a:gd name="T33" fmla="*/ 142 h 282"/>
                  <a:gd name="T34" fmla="*/ 288 w 292"/>
                  <a:gd name="T35" fmla="*/ 129 h 282"/>
                  <a:gd name="T36" fmla="*/ 286 w 292"/>
                  <a:gd name="T37" fmla="*/ 109 h 282"/>
                  <a:gd name="T38" fmla="*/ 275 w 292"/>
                  <a:gd name="T39" fmla="*/ 80 h 282"/>
                  <a:gd name="T40" fmla="*/ 242 w 292"/>
                  <a:gd name="T41" fmla="*/ 38 h 282"/>
                  <a:gd name="T42" fmla="*/ 231 w 292"/>
                  <a:gd name="T43" fmla="*/ 31 h 282"/>
                  <a:gd name="T44" fmla="*/ 219 w 292"/>
                  <a:gd name="T45" fmla="*/ 21 h 282"/>
                  <a:gd name="T46" fmla="*/ 189 w 292"/>
                  <a:gd name="T47" fmla="*/ 8 h 282"/>
                  <a:gd name="T48" fmla="*/ 166 w 292"/>
                  <a:gd name="T49" fmla="*/ 3 h 282"/>
                  <a:gd name="T50" fmla="*/ 174 w 292"/>
                  <a:gd name="T51" fmla="*/ 6 h 282"/>
                  <a:gd name="T52" fmla="*/ 191 w 292"/>
                  <a:gd name="T53" fmla="*/ 11 h 282"/>
                  <a:gd name="T54" fmla="*/ 209 w 292"/>
                  <a:gd name="T55" fmla="*/ 20 h 282"/>
                  <a:gd name="T56" fmla="*/ 233 w 292"/>
                  <a:gd name="T57" fmla="*/ 37 h 282"/>
                  <a:gd name="T58" fmla="*/ 245 w 292"/>
                  <a:gd name="T59" fmla="*/ 46 h 282"/>
                  <a:gd name="T60" fmla="*/ 254 w 292"/>
                  <a:gd name="T61" fmla="*/ 58 h 282"/>
                  <a:gd name="T62" fmla="*/ 272 w 292"/>
                  <a:gd name="T63" fmla="*/ 82 h 282"/>
                  <a:gd name="T64" fmla="*/ 277 w 292"/>
                  <a:gd name="T65" fmla="*/ 100 h 282"/>
                  <a:gd name="T66" fmla="*/ 284 w 292"/>
                  <a:gd name="T67" fmla="*/ 131 h 282"/>
                  <a:gd name="T68" fmla="*/ 284 w 292"/>
                  <a:gd name="T69" fmla="*/ 143 h 282"/>
                  <a:gd name="T70" fmla="*/ 280 w 292"/>
                  <a:gd name="T71" fmla="*/ 162 h 282"/>
                  <a:gd name="T72" fmla="*/ 279 w 292"/>
                  <a:gd name="T73" fmla="*/ 176 h 282"/>
                  <a:gd name="T74" fmla="*/ 270 w 292"/>
                  <a:gd name="T75" fmla="*/ 199 h 282"/>
                  <a:gd name="T76" fmla="*/ 264 w 292"/>
                  <a:gd name="T77" fmla="*/ 210 h 282"/>
                  <a:gd name="T78" fmla="*/ 245 w 292"/>
                  <a:gd name="T79" fmla="*/ 233 h 282"/>
                  <a:gd name="T80" fmla="*/ 217 w 292"/>
                  <a:gd name="T81" fmla="*/ 255 h 282"/>
                  <a:gd name="T82" fmla="*/ 186 w 292"/>
                  <a:gd name="T83" fmla="*/ 268 h 282"/>
                  <a:gd name="T84" fmla="*/ 168 w 292"/>
                  <a:gd name="T85" fmla="*/ 272 h 282"/>
                  <a:gd name="T86" fmla="*/ 144 w 292"/>
                  <a:gd name="T87" fmla="*/ 273 h 282"/>
                  <a:gd name="T88" fmla="*/ 110 w 292"/>
                  <a:gd name="T89" fmla="*/ 266 h 282"/>
                  <a:gd name="T90" fmla="*/ 72 w 292"/>
                  <a:gd name="T91" fmla="*/ 252 h 282"/>
                  <a:gd name="T92" fmla="*/ 50 w 292"/>
                  <a:gd name="T93" fmla="*/ 233 h 282"/>
                  <a:gd name="T94" fmla="*/ 14 w 292"/>
                  <a:gd name="T95" fmla="*/ 179 h 282"/>
                  <a:gd name="T96" fmla="*/ 9 w 292"/>
                  <a:gd name="T97" fmla="*/ 146 h 282"/>
                  <a:gd name="T98" fmla="*/ 11 w 292"/>
                  <a:gd name="T99" fmla="*/ 107 h 282"/>
                  <a:gd name="T100" fmla="*/ 19 w 292"/>
                  <a:gd name="T101" fmla="*/ 86 h 282"/>
                  <a:gd name="T102" fmla="*/ 26 w 292"/>
                  <a:gd name="T103" fmla="*/ 77 h 282"/>
                  <a:gd name="T104" fmla="*/ 28 w 292"/>
                  <a:gd name="T105" fmla="*/ 71 h 282"/>
                  <a:gd name="T106" fmla="*/ 49 w 292"/>
                  <a:gd name="T107" fmla="*/ 45 h 282"/>
                  <a:gd name="T108" fmla="*/ 99 w 292"/>
                  <a:gd name="T109" fmla="*/ 16 h 282"/>
                  <a:gd name="T110" fmla="*/ 128 w 292"/>
                  <a:gd name="T111" fmla="*/ 8 h 282"/>
                  <a:gd name="T112" fmla="*/ 145 w 292"/>
                  <a:gd name="T113" fmla="*/ 5 h 282"/>
                  <a:gd name="T114" fmla="*/ 130 w 292"/>
                  <a:gd name="T115" fmla="*/ 0 h 282"/>
                  <a:gd name="T116" fmla="*/ 93 w 292"/>
                  <a:gd name="T117" fmla="*/ 10 h 282"/>
                  <a:gd name="T118" fmla="*/ 72 w 292"/>
                  <a:gd name="T119" fmla="*/ 19 h 282"/>
                  <a:gd name="T120" fmla="*/ 17 w 292"/>
                  <a:gd name="T121" fmla="*/ 8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2" h="282">
                    <a:moveTo>
                      <a:pt x="72" y="17"/>
                    </a:moveTo>
                    <a:cubicBezTo>
                      <a:pt x="69" y="19"/>
                      <a:pt x="72" y="19"/>
                      <a:pt x="72" y="20"/>
                    </a:cubicBezTo>
                    <a:cubicBezTo>
                      <a:pt x="68" y="23"/>
                      <a:pt x="69" y="20"/>
                      <a:pt x="68" y="20"/>
                    </a:cubicBezTo>
                    <a:cubicBezTo>
                      <a:pt x="66" y="22"/>
                      <a:pt x="65" y="24"/>
                      <a:pt x="63" y="25"/>
                    </a:cubicBezTo>
                    <a:cubicBezTo>
                      <a:pt x="63" y="25"/>
                      <a:pt x="62" y="25"/>
                      <a:pt x="63" y="25"/>
                    </a:cubicBezTo>
                    <a:cubicBezTo>
                      <a:pt x="61" y="27"/>
                      <a:pt x="56" y="30"/>
                      <a:pt x="54" y="33"/>
                    </a:cubicBezTo>
                    <a:cubicBezTo>
                      <a:pt x="54" y="33"/>
                      <a:pt x="54" y="33"/>
                      <a:pt x="54" y="33"/>
                    </a:cubicBezTo>
                    <a:cubicBezTo>
                      <a:pt x="55" y="33"/>
                      <a:pt x="55" y="33"/>
                      <a:pt x="55" y="34"/>
                    </a:cubicBezTo>
                    <a:cubicBezTo>
                      <a:pt x="54" y="35"/>
                      <a:pt x="54" y="36"/>
                      <a:pt x="53" y="36"/>
                    </a:cubicBezTo>
                    <a:cubicBezTo>
                      <a:pt x="54" y="35"/>
                      <a:pt x="53" y="35"/>
                      <a:pt x="53" y="35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6"/>
                      <a:pt x="54" y="34"/>
                      <a:pt x="53" y="33"/>
                    </a:cubicBezTo>
                    <a:cubicBezTo>
                      <a:pt x="51" y="36"/>
                      <a:pt x="49" y="39"/>
                      <a:pt x="47" y="40"/>
                    </a:cubicBezTo>
                    <a:cubicBezTo>
                      <a:pt x="46" y="40"/>
                      <a:pt x="51" y="36"/>
                      <a:pt x="48" y="37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47" y="36"/>
                      <a:pt x="53" y="34"/>
                      <a:pt x="49" y="34"/>
                    </a:cubicBezTo>
                    <a:cubicBezTo>
                      <a:pt x="45" y="37"/>
                      <a:pt x="46" y="38"/>
                      <a:pt x="42" y="41"/>
                    </a:cubicBezTo>
                    <a:cubicBezTo>
                      <a:pt x="41" y="43"/>
                      <a:pt x="43" y="42"/>
                      <a:pt x="42" y="43"/>
                    </a:cubicBezTo>
                    <a:cubicBezTo>
                      <a:pt x="39" y="49"/>
                      <a:pt x="36" y="45"/>
                      <a:pt x="34" y="50"/>
                    </a:cubicBezTo>
                    <a:cubicBezTo>
                      <a:pt x="34" y="51"/>
                      <a:pt x="35" y="53"/>
                      <a:pt x="32" y="55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8" y="57"/>
                      <a:pt x="31" y="57"/>
                      <a:pt x="27" y="60"/>
                    </a:cubicBezTo>
                    <a:cubicBezTo>
                      <a:pt x="27" y="59"/>
                      <a:pt x="29" y="57"/>
                      <a:pt x="29" y="57"/>
                    </a:cubicBezTo>
                    <a:cubicBezTo>
                      <a:pt x="26" y="59"/>
                      <a:pt x="28" y="60"/>
                      <a:pt x="26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3"/>
                      <a:pt x="23" y="66"/>
                      <a:pt x="21" y="68"/>
                    </a:cubicBezTo>
                    <a:cubicBezTo>
                      <a:pt x="20" y="71"/>
                      <a:pt x="19" y="73"/>
                      <a:pt x="18" y="76"/>
                    </a:cubicBezTo>
                    <a:cubicBezTo>
                      <a:pt x="17" y="75"/>
                      <a:pt x="17" y="74"/>
                      <a:pt x="16" y="75"/>
                    </a:cubicBezTo>
                    <a:cubicBezTo>
                      <a:pt x="15" y="79"/>
                      <a:pt x="13" y="82"/>
                      <a:pt x="12" y="85"/>
                    </a:cubicBezTo>
                    <a:cubicBezTo>
                      <a:pt x="10" y="89"/>
                      <a:pt x="8" y="92"/>
                      <a:pt x="7" y="95"/>
                    </a:cubicBezTo>
                    <a:cubicBezTo>
                      <a:pt x="7" y="98"/>
                      <a:pt x="7" y="98"/>
                      <a:pt x="7" y="98"/>
                    </a:cubicBezTo>
                    <a:cubicBezTo>
                      <a:pt x="6" y="98"/>
                      <a:pt x="6" y="99"/>
                      <a:pt x="6" y="98"/>
                    </a:cubicBezTo>
                    <a:cubicBezTo>
                      <a:pt x="5" y="101"/>
                      <a:pt x="6" y="98"/>
                      <a:pt x="7" y="100"/>
                    </a:cubicBezTo>
                    <a:cubicBezTo>
                      <a:pt x="6" y="101"/>
                      <a:pt x="5" y="102"/>
                      <a:pt x="5" y="101"/>
                    </a:cubicBezTo>
                    <a:cubicBezTo>
                      <a:pt x="5" y="106"/>
                      <a:pt x="4" y="114"/>
                      <a:pt x="2" y="119"/>
                    </a:cubicBezTo>
                    <a:cubicBezTo>
                      <a:pt x="2" y="118"/>
                      <a:pt x="2" y="118"/>
                      <a:pt x="2" y="118"/>
                    </a:cubicBezTo>
                    <a:cubicBezTo>
                      <a:pt x="1" y="122"/>
                      <a:pt x="3" y="122"/>
                      <a:pt x="2" y="126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9"/>
                      <a:pt x="1" y="134"/>
                      <a:pt x="1" y="138"/>
                    </a:cubicBezTo>
                    <a:cubicBezTo>
                      <a:pt x="1" y="139"/>
                      <a:pt x="1" y="140"/>
                      <a:pt x="1" y="141"/>
                    </a:cubicBezTo>
                    <a:cubicBezTo>
                      <a:pt x="1" y="142"/>
                      <a:pt x="1" y="143"/>
                      <a:pt x="1" y="144"/>
                    </a:cubicBezTo>
                    <a:cubicBezTo>
                      <a:pt x="1" y="146"/>
                      <a:pt x="0" y="148"/>
                      <a:pt x="0" y="149"/>
                    </a:cubicBezTo>
                    <a:cubicBezTo>
                      <a:pt x="1" y="150"/>
                      <a:pt x="1" y="152"/>
                      <a:pt x="1" y="154"/>
                    </a:cubicBezTo>
                    <a:cubicBezTo>
                      <a:pt x="1" y="156"/>
                      <a:pt x="1" y="158"/>
                      <a:pt x="2" y="158"/>
                    </a:cubicBezTo>
                    <a:cubicBezTo>
                      <a:pt x="2" y="163"/>
                      <a:pt x="1" y="161"/>
                      <a:pt x="2" y="168"/>
                    </a:cubicBezTo>
                    <a:cubicBezTo>
                      <a:pt x="2" y="170"/>
                      <a:pt x="4" y="171"/>
                      <a:pt x="4" y="173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5" y="180"/>
                      <a:pt x="5" y="180"/>
                      <a:pt x="5" y="180"/>
                    </a:cubicBezTo>
                    <a:cubicBezTo>
                      <a:pt x="5" y="179"/>
                      <a:pt x="5" y="178"/>
                      <a:pt x="6" y="178"/>
                    </a:cubicBezTo>
                    <a:cubicBezTo>
                      <a:pt x="6" y="179"/>
                      <a:pt x="7" y="181"/>
                      <a:pt x="7" y="183"/>
                    </a:cubicBezTo>
                    <a:cubicBezTo>
                      <a:pt x="7" y="185"/>
                      <a:pt x="7" y="186"/>
                      <a:pt x="7" y="18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9" y="192"/>
                      <a:pt x="9" y="191"/>
                    </a:cubicBezTo>
                    <a:cubicBezTo>
                      <a:pt x="11" y="194"/>
                      <a:pt x="8" y="192"/>
                      <a:pt x="10" y="195"/>
                    </a:cubicBezTo>
                    <a:cubicBezTo>
                      <a:pt x="10" y="195"/>
                      <a:pt x="11" y="195"/>
                      <a:pt x="11" y="195"/>
                    </a:cubicBezTo>
                    <a:cubicBezTo>
                      <a:pt x="11" y="197"/>
                      <a:pt x="13" y="201"/>
                      <a:pt x="15" y="204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6" y="209"/>
                      <a:pt x="20" y="214"/>
                      <a:pt x="24" y="220"/>
                    </a:cubicBezTo>
                    <a:cubicBezTo>
                      <a:pt x="23" y="217"/>
                      <a:pt x="24" y="217"/>
                      <a:pt x="25" y="219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6" y="220"/>
                      <a:pt x="24" y="218"/>
                      <a:pt x="26" y="219"/>
                    </a:cubicBezTo>
                    <a:cubicBezTo>
                      <a:pt x="28" y="221"/>
                      <a:pt x="26" y="222"/>
                      <a:pt x="25" y="221"/>
                    </a:cubicBezTo>
                    <a:cubicBezTo>
                      <a:pt x="27" y="223"/>
                      <a:pt x="27" y="223"/>
                      <a:pt x="27" y="223"/>
                    </a:cubicBezTo>
                    <a:cubicBezTo>
                      <a:pt x="27" y="223"/>
                      <a:pt x="26" y="223"/>
                      <a:pt x="26" y="223"/>
                    </a:cubicBezTo>
                    <a:cubicBezTo>
                      <a:pt x="27" y="223"/>
                      <a:pt x="28" y="228"/>
                      <a:pt x="30" y="228"/>
                    </a:cubicBezTo>
                    <a:cubicBezTo>
                      <a:pt x="30" y="229"/>
                      <a:pt x="30" y="229"/>
                      <a:pt x="30" y="229"/>
                    </a:cubicBezTo>
                    <a:cubicBezTo>
                      <a:pt x="32" y="231"/>
                      <a:pt x="34" y="233"/>
                      <a:pt x="35" y="234"/>
                    </a:cubicBezTo>
                    <a:cubicBezTo>
                      <a:pt x="37" y="236"/>
                      <a:pt x="38" y="237"/>
                      <a:pt x="40" y="239"/>
                    </a:cubicBezTo>
                    <a:cubicBezTo>
                      <a:pt x="41" y="239"/>
                      <a:pt x="42" y="240"/>
                      <a:pt x="44" y="241"/>
                    </a:cubicBezTo>
                    <a:cubicBezTo>
                      <a:pt x="47" y="243"/>
                      <a:pt x="49" y="247"/>
                      <a:pt x="53" y="250"/>
                    </a:cubicBezTo>
                    <a:cubicBezTo>
                      <a:pt x="56" y="251"/>
                      <a:pt x="54" y="250"/>
                      <a:pt x="56" y="250"/>
                    </a:cubicBezTo>
                    <a:cubicBezTo>
                      <a:pt x="56" y="251"/>
                      <a:pt x="59" y="254"/>
                      <a:pt x="57" y="253"/>
                    </a:cubicBezTo>
                    <a:cubicBezTo>
                      <a:pt x="62" y="256"/>
                      <a:pt x="63" y="257"/>
                      <a:pt x="69" y="260"/>
                    </a:cubicBezTo>
                    <a:cubicBezTo>
                      <a:pt x="69" y="259"/>
                      <a:pt x="68" y="258"/>
                      <a:pt x="69" y="258"/>
                    </a:cubicBezTo>
                    <a:cubicBezTo>
                      <a:pt x="70" y="259"/>
                      <a:pt x="71" y="260"/>
                      <a:pt x="71" y="260"/>
                    </a:cubicBezTo>
                    <a:cubicBezTo>
                      <a:pt x="70" y="260"/>
                      <a:pt x="70" y="260"/>
                      <a:pt x="70" y="260"/>
                    </a:cubicBezTo>
                    <a:cubicBezTo>
                      <a:pt x="72" y="261"/>
                      <a:pt x="74" y="262"/>
                      <a:pt x="76" y="263"/>
                    </a:cubicBezTo>
                    <a:cubicBezTo>
                      <a:pt x="78" y="265"/>
                      <a:pt x="80" y="266"/>
                      <a:pt x="82" y="267"/>
                    </a:cubicBezTo>
                    <a:cubicBezTo>
                      <a:pt x="85" y="269"/>
                      <a:pt x="89" y="272"/>
                      <a:pt x="92" y="272"/>
                    </a:cubicBezTo>
                    <a:cubicBezTo>
                      <a:pt x="92" y="272"/>
                      <a:pt x="92" y="272"/>
                      <a:pt x="92" y="272"/>
                    </a:cubicBezTo>
                    <a:cubicBezTo>
                      <a:pt x="98" y="273"/>
                      <a:pt x="98" y="273"/>
                      <a:pt x="98" y="273"/>
                    </a:cubicBezTo>
                    <a:cubicBezTo>
                      <a:pt x="101" y="274"/>
                      <a:pt x="96" y="273"/>
                      <a:pt x="98" y="274"/>
                    </a:cubicBezTo>
                    <a:cubicBezTo>
                      <a:pt x="102" y="275"/>
                      <a:pt x="105" y="275"/>
                      <a:pt x="107" y="276"/>
                    </a:cubicBezTo>
                    <a:cubicBezTo>
                      <a:pt x="110" y="277"/>
                      <a:pt x="112" y="278"/>
                      <a:pt x="115" y="278"/>
                    </a:cubicBezTo>
                    <a:cubicBezTo>
                      <a:pt x="117" y="280"/>
                      <a:pt x="121" y="280"/>
                      <a:pt x="125" y="281"/>
                    </a:cubicBezTo>
                    <a:cubicBezTo>
                      <a:pt x="127" y="281"/>
                      <a:pt x="129" y="281"/>
                      <a:pt x="131" y="281"/>
                    </a:cubicBezTo>
                    <a:cubicBezTo>
                      <a:pt x="133" y="282"/>
                      <a:pt x="135" y="282"/>
                      <a:pt x="137" y="282"/>
                    </a:cubicBezTo>
                    <a:cubicBezTo>
                      <a:pt x="136" y="282"/>
                      <a:pt x="136" y="282"/>
                      <a:pt x="136" y="282"/>
                    </a:cubicBezTo>
                    <a:cubicBezTo>
                      <a:pt x="138" y="281"/>
                      <a:pt x="138" y="282"/>
                      <a:pt x="139" y="282"/>
                    </a:cubicBezTo>
                    <a:cubicBezTo>
                      <a:pt x="139" y="282"/>
                      <a:pt x="138" y="282"/>
                      <a:pt x="139" y="281"/>
                    </a:cubicBezTo>
                    <a:cubicBezTo>
                      <a:pt x="140" y="281"/>
                      <a:pt x="142" y="281"/>
                      <a:pt x="144" y="281"/>
                    </a:cubicBezTo>
                    <a:cubicBezTo>
                      <a:pt x="145" y="281"/>
                      <a:pt x="145" y="281"/>
                      <a:pt x="147" y="281"/>
                    </a:cubicBezTo>
                    <a:cubicBezTo>
                      <a:pt x="149" y="281"/>
                      <a:pt x="149" y="281"/>
                      <a:pt x="149" y="281"/>
                    </a:cubicBezTo>
                    <a:cubicBezTo>
                      <a:pt x="152" y="281"/>
                      <a:pt x="156" y="281"/>
                      <a:pt x="159" y="281"/>
                    </a:cubicBezTo>
                    <a:cubicBezTo>
                      <a:pt x="162" y="281"/>
                      <a:pt x="166" y="281"/>
                      <a:pt x="170" y="281"/>
                    </a:cubicBezTo>
                    <a:cubicBezTo>
                      <a:pt x="175" y="280"/>
                      <a:pt x="175" y="280"/>
                      <a:pt x="175" y="280"/>
                    </a:cubicBezTo>
                    <a:cubicBezTo>
                      <a:pt x="177" y="280"/>
                      <a:pt x="178" y="280"/>
                      <a:pt x="180" y="279"/>
                    </a:cubicBezTo>
                    <a:cubicBezTo>
                      <a:pt x="185" y="278"/>
                      <a:pt x="182" y="275"/>
                      <a:pt x="188" y="275"/>
                    </a:cubicBezTo>
                    <a:cubicBezTo>
                      <a:pt x="187" y="277"/>
                      <a:pt x="187" y="277"/>
                      <a:pt x="187" y="277"/>
                    </a:cubicBezTo>
                    <a:cubicBezTo>
                      <a:pt x="192" y="275"/>
                      <a:pt x="197" y="273"/>
                      <a:pt x="201" y="271"/>
                    </a:cubicBezTo>
                    <a:cubicBezTo>
                      <a:pt x="206" y="270"/>
                      <a:pt x="211" y="267"/>
                      <a:pt x="215" y="265"/>
                    </a:cubicBezTo>
                    <a:cubicBezTo>
                      <a:pt x="215" y="265"/>
                      <a:pt x="215" y="266"/>
                      <a:pt x="214" y="266"/>
                    </a:cubicBezTo>
                    <a:cubicBezTo>
                      <a:pt x="216" y="266"/>
                      <a:pt x="221" y="262"/>
                      <a:pt x="220" y="262"/>
                    </a:cubicBezTo>
                    <a:cubicBezTo>
                      <a:pt x="222" y="261"/>
                      <a:pt x="221" y="262"/>
                      <a:pt x="222" y="262"/>
                    </a:cubicBezTo>
                    <a:cubicBezTo>
                      <a:pt x="224" y="261"/>
                      <a:pt x="226" y="258"/>
                      <a:pt x="227" y="258"/>
                    </a:cubicBezTo>
                    <a:cubicBezTo>
                      <a:pt x="228" y="258"/>
                      <a:pt x="227" y="259"/>
                      <a:pt x="227" y="259"/>
                    </a:cubicBezTo>
                    <a:cubicBezTo>
                      <a:pt x="228" y="258"/>
                      <a:pt x="232" y="256"/>
                      <a:pt x="230" y="256"/>
                    </a:cubicBezTo>
                    <a:cubicBezTo>
                      <a:pt x="234" y="254"/>
                      <a:pt x="236" y="251"/>
                      <a:pt x="239" y="250"/>
                    </a:cubicBezTo>
                    <a:cubicBezTo>
                      <a:pt x="239" y="248"/>
                      <a:pt x="244" y="246"/>
                      <a:pt x="243" y="244"/>
                    </a:cubicBezTo>
                    <a:cubicBezTo>
                      <a:pt x="244" y="246"/>
                      <a:pt x="249" y="241"/>
                      <a:pt x="250" y="239"/>
                    </a:cubicBezTo>
                    <a:cubicBezTo>
                      <a:pt x="250" y="240"/>
                      <a:pt x="252" y="238"/>
                      <a:pt x="252" y="239"/>
                    </a:cubicBezTo>
                    <a:cubicBezTo>
                      <a:pt x="254" y="237"/>
                      <a:pt x="255" y="235"/>
                      <a:pt x="254" y="235"/>
                    </a:cubicBezTo>
                    <a:cubicBezTo>
                      <a:pt x="257" y="234"/>
                      <a:pt x="258" y="232"/>
                      <a:pt x="259" y="230"/>
                    </a:cubicBezTo>
                    <a:cubicBezTo>
                      <a:pt x="260" y="228"/>
                      <a:pt x="261" y="226"/>
                      <a:pt x="263" y="226"/>
                    </a:cubicBezTo>
                    <a:cubicBezTo>
                      <a:pt x="265" y="222"/>
                      <a:pt x="267" y="219"/>
                      <a:pt x="269" y="216"/>
                    </a:cubicBezTo>
                    <a:cubicBezTo>
                      <a:pt x="271" y="212"/>
                      <a:pt x="272" y="209"/>
                      <a:pt x="274" y="206"/>
                    </a:cubicBezTo>
                    <a:cubicBezTo>
                      <a:pt x="276" y="207"/>
                      <a:pt x="270" y="213"/>
                      <a:pt x="272" y="214"/>
                    </a:cubicBezTo>
                    <a:cubicBezTo>
                      <a:pt x="275" y="207"/>
                      <a:pt x="275" y="203"/>
                      <a:pt x="278" y="197"/>
                    </a:cubicBezTo>
                    <a:cubicBezTo>
                      <a:pt x="279" y="196"/>
                      <a:pt x="279" y="199"/>
                      <a:pt x="279" y="199"/>
                    </a:cubicBezTo>
                    <a:cubicBezTo>
                      <a:pt x="280" y="196"/>
                      <a:pt x="281" y="193"/>
                      <a:pt x="282" y="190"/>
                    </a:cubicBezTo>
                    <a:cubicBezTo>
                      <a:pt x="283" y="187"/>
                      <a:pt x="285" y="184"/>
                      <a:pt x="285" y="181"/>
                    </a:cubicBezTo>
                    <a:cubicBezTo>
                      <a:pt x="285" y="181"/>
                      <a:pt x="285" y="182"/>
                      <a:pt x="285" y="183"/>
                    </a:cubicBezTo>
                    <a:cubicBezTo>
                      <a:pt x="285" y="181"/>
                      <a:pt x="286" y="180"/>
                      <a:pt x="285" y="180"/>
                    </a:cubicBezTo>
                    <a:cubicBezTo>
                      <a:pt x="285" y="181"/>
                      <a:pt x="285" y="181"/>
                      <a:pt x="285" y="181"/>
                    </a:cubicBezTo>
                    <a:cubicBezTo>
                      <a:pt x="284" y="182"/>
                      <a:pt x="284" y="176"/>
                      <a:pt x="284" y="175"/>
                    </a:cubicBezTo>
                    <a:cubicBezTo>
                      <a:pt x="285" y="178"/>
                      <a:pt x="286" y="170"/>
                      <a:pt x="288" y="174"/>
                    </a:cubicBezTo>
                    <a:cubicBezTo>
                      <a:pt x="288" y="173"/>
                      <a:pt x="288" y="172"/>
                      <a:pt x="287" y="172"/>
                    </a:cubicBezTo>
                    <a:cubicBezTo>
                      <a:pt x="287" y="171"/>
                      <a:pt x="288" y="171"/>
                      <a:pt x="288" y="172"/>
                    </a:cubicBezTo>
                    <a:cubicBezTo>
                      <a:pt x="289" y="168"/>
                      <a:pt x="288" y="169"/>
                      <a:pt x="288" y="165"/>
                    </a:cubicBezTo>
                    <a:cubicBezTo>
                      <a:pt x="289" y="165"/>
                      <a:pt x="289" y="166"/>
                      <a:pt x="289" y="167"/>
                    </a:cubicBezTo>
                    <a:cubicBezTo>
                      <a:pt x="289" y="164"/>
                      <a:pt x="288" y="162"/>
                      <a:pt x="289" y="159"/>
                    </a:cubicBezTo>
                    <a:cubicBezTo>
                      <a:pt x="289" y="160"/>
                      <a:pt x="290" y="159"/>
                      <a:pt x="289" y="160"/>
                    </a:cubicBezTo>
                    <a:cubicBezTo>
                      <a:pt x="290" y="155"/>
                      <a:pt x="288" y="151"/>
                      <a:pt x="289" y="145"/>
                    </a:cubicBezTo>
                    <a:cubicBezTo>
                      <a:pt x="291" y="146"/>
                      <a:pt x="290" y="143"/>
                      <a:pt x="292" y="142"/>
                    </a:cubicBezTo>
                    <a:cubicBezTo>
                      <a:pt x="292" y="142"/>
                      <a:pt x="292" y="141"/>
                      <a:pt x="291" y="140"/>
                    </a:cubicBezTo>
                    <a:cubicBezTo>
                      <a:pt x="291" y="140"/>
                      <a:pt x="291" y="139"/>
                      <a:pt x="291" y="139"/>
                    </a:cubicBezTo>
                    <a:cubicBezTo>
                      <a:pt x="290" y="140"/>
                      <a:pt x="290" y="140"/>
                      <a:pt x="290" y="140"/>
                    </a:cubicBezTo>
                    <a:cubicBezTo>
                      <a:pt x="290" y="137"/>
                      <a:pt x="289" y="135"/>
                      <a:pt x="290" y="132"/>
                    </a:cubicBezTo>
                    <a:cubicBezTo>
                      <a:pt x="290" y="135"/>
                      <a:pt x="290" y="135"/>
                      <a:pt x="290" y="135"/>
                    </a:cubicBezTo>
                    <a:cubicBezTo>
                      <a:pt x="290" y="129"/>
                      <a:pt x="290" y="129"/>
                      <a:pt x="290" y="129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8" y="130"/>
                      <a:pt x="287" y="133"/>
                      <a:pt x="288" y="129"/>
                    </a:cubicBezTo>
                    <a:cubicBezTo>
                      <a:pt x="288" y="130"/>
                      <a:pt x="288" y="126"/>
                      <a:pt x="288" y="125"/>
                    </a:cubicBezTo>
                    <a:cubicBezTo>
                      <a:pt x="288" y="125"/>
                      <a:pt x="288" y="125"/>
                      <a:pt x="288" y="125"/>
                    </a:cubicBezTo>
                    <a:cubicBezTo>
                      <a:pt x="287" y="123"/>
                      <a:pt x="287" y="122"/>
                      <a:pt x="287" y="120"/>
                    </a:cubicBezTo>
                    <a:cubicBezTo>
                      <a:pt x="287" y="119"/>
                      <a:pt x="288" y="120"/>
                      <a:pt x="289" y="120"/>
                    </a:cubicBezTo>
                    <a:cubicBezTo>
                      <a:pt x="287" y="118"/>
                      <a:pt x="287" y="113"/>
                      <a:pt x="286" y="112"/>
                    </a:cubicBezTo>
                    <a:cubicBezTo>
                      <a:pt x="286" y="112"/>
                      <a:pt x="287" y="112"/>
                      <a:pt x="287" y="112"/>
                    </a:cubicBezTo>
                    <a:cubicBezTo>
                      <a:pt x="286" y="111"/>
                      <a:pt x="286" y="111"/>
                      <a:pt x="286" y="111"/>
                    </a:cubicBezTo>
                    <a:cubicBezTo>
                      <a:pt x="286" y="109"/>
                      <a:pt x="286" y="109"/>
                      <a:pt x="286" y="109"/>
                    </a:cubicBezTo>
                    <a:cubicBezTo>
                      <a:pt x="285" y="105"/>
                      <a:pt x="285" y="111"/>
                      <a:pt x="284" y="106"/>
                    </a:cubicBezTo>
                    <a:cubicBezTo>
                      <a:pt x="285" y="107"/>
                      <a:pt x="285" y="106"/>
                      <a:pt x="285" y="107"/>
                    </a:cubicBezTo>
                    <a:cubicBezTo>
                      <a:pt x="285" y="105"/>
                      <a:pt x="284" y="103"/>
                      <a:pt x="283" y="100"/>
                    </a:cubicBezTo>
                    <a:cubicBezTo>
                      <a:pt x="282" y="98"/>
                      <a:pt x="281" y="96"/>
                      <a:pt x="281" y="94"/>
                    </a:cubicBezTo>
                    <a:cubicBezTo>
                      <a:pt x="282" y="93"/>
                      <a:pt x="282" y="98"/>
                      <a:pt x="283" y="96"/>
                    </a:cubicBezTo>
                    <a:cubicBezTo>
                      <a:pt x="282" y="93"/>
                      <a:pt x="280" y="90"/>
                      <a:pt x="279" y="87"/>
                    </a:cubicBezTo>
                    <a:cubicBezTo>
                      <a:pt x="277" y="84"/>
                      <a:pt x="275" y="82"/>
                      <a:pt x="274" y="79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72" y="80"/>
                      <a:pt x="274" y="75"/>
                      <a:pt x="271" y="73"/>
                    </a:cubicBezTo>
                    <a:cubicBezTo>
                      <a:pt x="272" y="74"/>
                      <a:pt x="273" y="74"/>
                      <a:pt x="272" y="74"/>
                    </a:cubicBezTo>
                    <a:cubicBezTo>
                      <a:pt x="270" y="70"/>
                      <a:pt x="267" y="66"/>
                      <a:pt x="263" y="62"/>
                    </a:cubicBezTo>
                    <a:cubicBezTo>
                      <a:pt x="264" y="62"/>
                      <a:pt x="264" y="62"/>
                      <a:pt x="264" y="62"/>
                    </a:cubicBezTo>
                    <a:cubicBezTo>
                      <a:pt x="263" y="60"/>
                      <a:pt x="260" y="57"/>
                      <a:pt x="259" y="55"/>
                    </a:cubicBezTo>
                    <a:cubicBezTo>
                      <a:pt x="258" y="54"/>
                      <a:pt x="257" y="53"/>
                      <a:pt x="257" y="54"/>
                    </a:cubicBezTo>
                    <a:cubicBezTo>
                      <a:pt x="256" y="50"/>
                      <a:pt x="253" y="48"/>
                      <a:pt x="250" y="45"/>
                    </a:cubicBezTo>
                    <a:cubicBezTo>
                      <a:pt x="247" y="43"/>
                      <a:pt x="244" y="41"/>
                      <a:pt x="242" y="38"/>
                    </a:cubicBezTo>
                    <a:cubicBezTo>
                      <a:pt x="242" y="38"/>
                      <a:pt x="244" y="39"/>
                      <a:pt x="243" y="38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238" y="36"/>
                      <a:pt x="238" y="35"/>
                      <a:pt x="239" y="37"/>
                    </a:cubicBezTo>
                    <a:cubicBezTo>
                      <a:pt x="238" y="37"/>
                      <a:pt x="236" y="36"/>
                      <a:pt x="235" y="35"/>
                    </a:cubicBezTo>
                    <a:cubicBezTo>
                      <a:pt x="238" y="36"/>
                      <a:pt x="236" y="34"/>
                      <a:pt x="235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3" y="30"/>
                      <a:pt x="233" y="35"/>
                      <a:pt x="230" y="31"/>
                    </a:cubicBezTo>
                    <a:cubicBezTo>
                      <a:pt x="231" y="31"/>
                      <a:pt x="231" y="31"/>
                      <a:pt x="231" y="31"/>
                    </a:cubicBezTo>
                    <a:cubicBezTo>
                      <a:pt x="229" y="30"/>
                      <a:pt x="228" y="30"/>
                      <a:pt x="227" y="29"/>
                    </a:cubicBezTo>
                    <a:cubicBezTo>
                      <a:pt x="227" y="27"/>
                      <a:pt x="228" y="29"/>
                      <a:pt x="229" y="29"/>
                    </a:cubicBezTo>
                    <a:cubicBezTo>
                      <a:pt x="228" y="28"/>
                      <a:pt x="226" y="28"/>
                      <a:pt x="225" y="27"/>
                    </a:cubicBezTo>
                    <a:cubicBezTo>
                      <a:pt x="224" y="27"/>
                      <a:pt x="223" y="27"/>
                      <a:pt x="222" y="26"/>
                    </a:cubicBezTo>
                    <a:cubicBezTo>
                      <a:pt x="223" y="26"/>
                      <a:pt x="225" y="27"/>
                      <a:pt x="226" y="27"/>
                    </a:cubicBezTo>
                    <a:cubicBezTo>
                      <a:pt x="224" y="25"/>
                      <a:pt x="224" y="25"/>
                      <a:pt x="222" y="24"/>
                    </a:cubicBezTo>
                    <a:cubicBezTo>
                      <a:pt x="223" y="24"/>
                      <a:pt x="223" y="24"/>
                      <a:pt x="223" y="24"/>
                    </a:cubicBezTo>
                    <a:cubicBezTo>
                      <a:pt x="219" y="21"/>
                      <a:pt x="219" y="21"/>
                      <a:pt x="219" y="21"/>
                    </a:cubicBezTo>
                    <a:cubicBezTo>
                      <a:pt x="220" y="22"/>
                      <a:pt x="220" y="22"/>
                      <a:pt x="220" y="22"/>
                    </a:cubicBezTo>
                    <a:cubicBezTo>
                      <a:pt x="216" y="23"/>
                      <a:pt x="214" y="19"/>
                      <a:pt x="210" y="19"/>
                    </a:cubicBezTo>
                    <a:cubicBezTo>
                      <a:pt x="214" y="19"/>
                      <a:pt x="211" y="19"/>
                      <a:pt x="211" y="18"/>
                    </a:cubicBezTo>
                    <a:cubicBezTo>
                      <a:pt x="211" y="17"/>
                      <a:pt x="209" y="16"/>
                      <a:pt x="210" y="16"/>
                    </a:cubicBezTo>
                    <a:cubicBezTo>
                      <a:pt x="208" y="16"/>
                      <a:pt x="207" y="14"/>
                      <a:pt x="204" y="14"/>
                    </a:cubicBezTo>
                    <a:cubicBezTo>
                      <a:pt x="204" y="13"/>
                      <a:pt x="202" y="13"/>
                      <a:pt x="203" y="12"/>
                    </a:cubicBezTo>
                    <a:cubicBezTo>
                      <a:pt x="200" y="11"/>
                      <a:pt x="203" y="13"/>
                      <a:pt x="203" y="13"/>
                    </a:cubicBezTo>
                    <a:cubicBezTo>
                      <a:pt x="199" y="13"/>
                      <a:pt x="195" y="9"/>
                      <a:pt x="189" y="8"/>
                    </a:cubicBezTo>
                    <a:cubicBezTo>
                      <a:pt x="184" y="8"/>
                      <a:pt x="182" y="9"/>
                      <a:pt x="178" y="9"/>
                    </a:cubicBezTo>
                    <a:cubicBezTo>
                      <a:pt x="176" y="8"/>
                      <a:pt x="179" y="7"/>
                      <a:pt x="179" y="7"/>
                    </a:cubicBezTo>
                    <a:cubicBezTo>
                      <a:pt x="177" y="6"/>
                      <a:pt x="175" y="6"/>
                      <a:pt x="173" y="6"/>
                    </a:cubicBezTo>
                    <a:cubicBezTo>
                      <a:pt x="173" y="6"/>
                      <a:pt x="173" y="5"/>
                      <a:pt x="172" y="5"/>
                    </a:cubicBezTo>
                    <a:cubicBezTo>
                      <a:pt x="170" y="5"/>
                      <a:pt x="171" y="6"/>
                      <a:pt x="169" y="5"/>
                    </a:cubicBezTo>
                    <a:cubicBezTo>
                      <a:pt x="169" y="5"/>
                      <a:pt x="170" y="4"/>
                      <a:pt x="171" y="4"/>
                    </a:cubicBezTo>
                    <a:cubicBezTo>
                      <a:pt x="168" y="4"/>
                      <a:pt x="166" y="4"/>
                      <a:pt x="164" y="4"/>
                    </a:cubicBezTo>
                    <a:cubicBezTo>
                      <a:pt x="163" y="4"/>
                      <a:pt x="165" y="3"/>
                      <a:pt x="166" y="3"/>
                    </a:cubicBezTo>
                    <a:cubicBezTo>
                      <a:pt x="164" y="3"/>
                      <a:pt x="159" y="3"/>
                      <a:pt x="159" y="4"/>
                    </a:cubicBezTo>
                    <a:cubicBezTo>
                      <a:pt x="160" y="4"/>
                      <a:pt x="160" y="4"/>
                      <a:pt x="160" y="4"/>
                    </a:cubicBezTo>
                    <a:cubicBezTo>
                      <a:pt x="159" y="4"/>
                      <a:pt x="160" y="3"/>
                      <a:pt x="160" y="3"/>
                    </a:cubicBezTo>
                    <a:cubicBezTo>
                      <a:pt x="163" y="3"/>
                      <a:pt x="164" y="4"/>
                      <a:pt x="164" y="5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3" y="7"/>
                      <a:pt x="168" y="5"/>
                      <a:pt x="172" y="6"/>
                    </a:cubicBezTo>
                    <a:cubicBezTo>
                      <a:pt x="170" y="7"/>
                      <a:pt x="170" y="7"/>
                      <a:pt x="170" y="7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4" y="7"/>
                      <a:pt x="175" y="8"/>
                      <a:pt x="173" y="8"/>
                    </a:cubicBezTo>
                    <a:cubicBezTo>
                      <a:pt x="175" y="9"/>
                      <a:pt x="175" y="8"/>
                      <a:pt x="177" y="9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9" y="9"/>
                      <a:pt x="179" y="9"/>
                      <a:pt x="179" y="9"/>
                    </a:cubicBezTo>
                    <a:cubicBezTo>
                      <a:pt x="178" y="10"/>
                      <a:pt x="179" y="11"/>
                      <a:pt x="178" y="10"/>
                    </a:cubicBezTo>
                    <a:cubicBezTo>
                      <a:pt x="181" y="12"/>
                      <a:pt x="184" y="10"/>
                      <a:pt x="186" y="12"/>
                    </a:cubicBezTo>
                    <a:cubicBezTo>
                      <a:pt x="185" y="12"/>
                      <a:pt x="185" y="12"/>
                      <a:pt x="185" y="12"/>
                    </a:cubicBezTo>
                    <a:cubicBezTo>
                      <a:pt x="191" y="13"/>
                      <a:pt x="186" y="11"/>
                      <a:pt x="191" y="11"/>
                    </a:cubicBezTo>
                    <a:cubicBezTo>
                      <a:pt x="192" y="15"/>
                      <a:pt x="192" y="15"/>
                      <a:pt x="192" y="15"/>
                    </a:cubicBezTo>
                    <a:cubicBezTo>
                      <a:pt x="193" y="14"/>
                      <a:pt x="193" y="14"/>
                      <a:pt x="193" y="14"/>
                    </a:cubicBezTo>
                    <a:cubicBezTo>
                      <a:pt x="194" y="14"/>
                      <a:pt x="195" y="14"/>
                      <a:pt x="194" y="15"/>
                    </a:cubicBezTo>
                    <a:cubicBezTo>
                      <a:pt x="197" y="15"/>
                      <a:pt x="194" y="14"/>
                      <a:pt x="196" y="14"/>
                    </a:cubicBezTo>
                    <a:cubicBezTo>
                      <a:pt x="197" y="15"/>
                      <a:pt x="199" y="15"/>
                      <a:pt x="200" y="16"/>
                    </a:cubicBezTo>
                    <a:cubicBezTo>
                      <a:pt x="202" y="16"/>
                      <a:pt x="203" y="17"/>
                      <a:pt x="203" y="18"/>
                    </a:cubicBezTo>
                    <a:cubicBezTo>
                      <a:pt x="204" y="18"/>
                      <a:pt x="201" y="16"/>
                      <a:pt x="204" y="17"/>
                    </a:cubicBezTo>
                    <a:cubicBezTo>
                      <a:pt x="204" y="19"/>
                      <a:pt x="207" y="18"/>
                      <a:pt x="209" y="20"/>
                    </a:cubicBezTo>
                    <a:cubicBezTo>
                      <a:pt x="208" y="21"/>
                      <a:pt x="206" y="19"/>
                      <a:pt x="208" y="21"/>
                    </a:cubicBezTo>
                    <a:cubicBezTo>
                      <a:pt x="210" y="20"/>
                      <a:pt x="212" y="23"/>
                      <a:pt x="214" y="24"/>
                    </a:cubicBezTo>
                    <a:cubicBezTo>
                      <a:pt x="215" y="23"/>
                      <a:pt x="218" y="26"/>
                      <a:pt x="222" y="27"/>
                    </a:cubicBezTo>
                    <a:cubicBezTo>
                      <a:pt x="221" y="28"/>
                      <a:pt x="223" y="29"/>
                      <a:pt x="224" y="30"/>
                    </a:cubicBezTo>
                    <a:cubicBezTo>
                      <a:pt x="226" y="31"/>
                      <a:pt x="228" y="33"/>
                      <a:pt x="229" y="34"/>
                    </a:cubicBezTo>
                    <a:cubicBezTo>
                      <a:pt x="229" y="34"/>
                      <a:pt x="229" y="34"/>
                      <a:pt x="229" y="34"/>
                    </a:cubicBezTo>
                    <a:cubicBezTo>
                      <a:pt x="230" y="34"/>
                      <a:pt x="233" y="36"/>
                      <a:pt x="235" y="37"/>
                    </a:cubicBezTo>
                    <a:cubicBezTo>
                      <a:pt x="235" y="38"/>
                      <a:pt x="234" y="38"/>
                      <a:pt x="233" y="37"/>
                    </a:cubicBezTo>
                    <a:cubicBezTo>
                      <a:pt x="233" y="37"/>
                      <a:pt x="235" y="39"/>
                      <a:pt x="235" y="39"/>
                    </a:cubicBezTo>
                    <a:cubicBezTo>
                      <a:pt x="235" y="39"/>
                      <a:pt x="236" y="39"/>
                      <a:pt x="237" y="40"/>
                    </a:cubicBezTo>
                    <a:cubicBezTo>
                      <a:pt x="236" y="40"/>
                      <a:pt x="236" y="40"/>
                      <a:pt x="236" y="40"/>
                    </a:cubicBezTo>
                    <a:cubicBezTo>
                      <a:pt x="238" y="42"/>
                      <a:pt x="242" y="43"/>
                      <a:pt x="244" y="47"/>
                    </a:cubicBezTo>
                    <a:cubicBezTo>
                      <a:pt x="245" y="46"/>
                      <a:pt x="244" y="42"/>
                      <a:pt x="247" y="45"/>
                    </a:cubicBezTo>
                    <a:cubicBezTo>
                      <a:pt x="247" y="45"/>
                      <a:pt x="247" y="46"/>
                      <a:pt x="246" y="45"/>
                    </a:cubicBezTo>
                    <a:cubicBezTo>
                      <a:pt x="246" y="46"/>
                      <a:pt x="247" y="46"/>
                      <a:pt x="247" y="47"/>
                    </a:cubicBezTo>
                    <a:cubicBezTo>
                      <a:pt x="245" y="46"/>
                      <a:pt x="245" y="46"/>
                      <a:pt x="245" y="46"/>
                    </a:cubicBezTo>
                    <a:cubicBezTo>
                      <a:pt x="246" y="48"/>
                      <a:pt x="247" y="46"/>
                      <a:pt x="248" y="47"/>
                    </a:cubicBezTo>
                    <a:cubicBezTo>
                      <a:pt x="247" y="48"/>
                      <a:pt x="248" y="49"/>
                      <a:pt x="247" y="49"/>
                    </a:cubicBezTo>
                    <a:cubicBezTo>
                      <a:pt x="247" y="49"/>
                      <a:pt x="247" y="48"/>
                      <a:pt x="246" y="48"/>
                    </a:cubicBezTo>
                    <a:cubicBezTo>
                      <a:pt x="247" y="49"/>
                      <a:pt x="248" y="51"/>
                      <a:pt x="248" y="52"/>
                    </a:cubicBezTo>
                    <a:cubicBezTo>
                      <a:pt x="248" y="51"/>
                      <a:pt x="249" y="51"/>
                      <a:pt x="250" y="52"/>
                    </a:cubicBezTo>
                    <a:cubicBezTo>
                      <a:pt x="252" y="54"/>
                      <a:pt x="250" y="53"/>
                      <a:pt x="251" y="55"/>
                    </a:cubicBezTo>
                    <a:cubicBezTo>
                      <a:pt x="252" y="55"/>
                      <a:pt x="253" y="57"/>
                      <a:pt x="254" y="56"/>
                    </a:cubicBezTo>
                    <a:cubicBezTo>
                      <a:pt x="254" y="57"/>
                      <a:pt x="254" y="57"/>
                      <a:pt x="254" y="58"/>
                    </a:cubicBezTo>
                    <a:cubicBezTo>
                      <a:pt x="255" y="59"/>
                      <a:pt x="259" y="63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58" y="61"/>
                      <a:pt x="258" y="61"/>
                      <a:pt x="258" y="61"/>
                    </a:cubicBezTo>
                    <a:cubicBezTo>
                      <a:pt x="263" y="64"/>
                      <a:pt x="264" y="70"/>
                      <a:pt x="267" y="75"/>
                    </a:cubicBezTo>
                    <a:cubicBezTo>
                      <a:pt x="267" y="75"/>
                      <a:pt x="267" y="75"/>
                      <a:pt x="267" y="75"/>
                    </a:cubicBezTo>
                    <a:cubicBezTo>
                      <a:pt x="269" y="77"/>
                      <a:pt x="271" y="81"/>
                      <a:pt x="272" y="82"/>
                    </a:cubicBezTo>
                    <a:cubicBezTo>
                      <a:pt x="273" y="83"/>
                      <a:pt x="273" y="85"/>
                      <a:pt x="272" y="85"/>
                    </a:cubicBezTo>
                    <a:cubicBezTo>
                      <a:pt x="274" y="87"/>
                      <a:pt x="274" y="87"/>
                      <a:pt x="275" y="90"/>
                    </a:cubicBezTo>
                    <a:cubicBezTo>
                      <a:pt x="273" y="88"/>
                      <a:pt x="275" y="91"/>
                      <a:pt x="273" y="88"/>
                    </a:cubicBezTo>
                    <a:cubicBezTo>
                      <a:pt x="274" y="91"/>
                      <a:pt x="274" y="92"/>
                      <a:pt x="276" y="95"/>
                    </a:cubicBezTo>
                    <a:cubicBezTo>
                      <a:pt x="275" y="94"/>
                      <a:pt x="276" y="97"/>
                      <a:pt x="277" y="98"/>
                    </a:cubicBezTo>
                    <a:cubicBezTo>
                      <a:pt x="277" y="96"/>
                      <a:pt x="277" y="96"/>
                      <a:pt x="277" y="96"/>
                    </a:cubicBezTo>
                    <a:cubicBezTo>
                      <a:pt x="277" y="98"/>
                      <a:pt x="278" y="99"/>
                      <a:pt x="278" y="100"/>
                    </a:cubicBezTo>
                    <a:cubicBezTo>
                      <a:pt x="277" y="100"/>
                      <a:pt x="277" y="100"/>
                      <a:pt x="277" y="100"/>
                    </a:cubicBezTo>
                    <a:cubicBezTo>
                      <a:pt x="277" y="103"/>
                      <a:pt x="278" y="106"/>
                      <a:pt x="279" y="108"/>
                    </a:cubicBezTo>
                    <a:cubicBezTo>
                      <a:pt x="281" y="111"/>
                      <a:pt x="282" y="113"/>
                      <a:pt x="281" y="116"/>
                    </a:cubicBezTo>
                    <a:cubicBezTo>
                      <a:pt x="282" y="117"/>
                      <a:pt x="281" y="112"/>
                      <a:pt x="282" y="113"/>
                    </a:cubicBezTo>
                    <a:cubicBezTo>
                      <a:pt x="283" y="116"/>
                      <a:pt x="281" y="120"/>
                      <a:pt x="281" y="120"/>
                    </a:cubicBezTo>
                    <a:cubicBezTo>
                      <a:pt x="281" y="124"/>
                      <a:pt x="284" y="124"/>
                      <a:pt x="284" y="128"/>
                    </a:cubicBezTo>
                    <a:cubicBezTo>
                      <a:pt x="284" y="127"/>
                      <a:pt x="285" y="127"/>
                      <a:pt x="286" y="130"/>
                    </a:cubicBezTo>
                    <a:cubicBezTo>
                      <a:pt x="286" y="133"/>
                      <a:pt x="284" y="134"/>
                      <a:pt x="284" y="132"/>
                    </a:cubicBezTo>
                    <a:cubicBezTo>
                      <a:pt x="284" y="131"/>
                      <a:pt x="284" y="131"/>
                      <a:pt x="284" y="131"/>
                    </a:cubicBezTo>
                    <a:cubicBezTo>
                      <a:pt x="284" y="130"/>
                      <a:pt x="284" y="129"/>
                      <a:pt x="283" y="130"/>
                    </a:cubicBezTo>
                    <a:cubicBezTo>
                      <a:pt x="284" y="130"/>
                      <a:pt x="284" y="130"/>
                      <a:pt x="284" y="130"/>
                    </a:cubicBezTo>
                    <a:cubicBezTo>
                      <a:pt x="283" y="132"/>
                      <a:pt x="283" y="136"/>
                      <a:pt x="283" y="135"/>
                    </a:cubicBezTo>
                    <a:cubicBezTo>
                      <a:pt x="283" y="137"/>
                      <a:pt x="283" y="136"/>
                      <a:pt x="284" y="134"/>
                    </a:cubicBezTo>
                    <a:cubicBezTo>
                      <a:pt x="283" y="136"/>
                      <a:pt x="283" y="138"/>
                      <a:pt x="284" y="139"/>
                    </a:cubicBezTo>
                    <a:cubicBezTo>
                      <a:pt x="284" y="140"/>
                      <a:pt x="284" y="141"/>
                      <a:pt x="284" y="141"/>
                    </a:cubicBezTo>
                    <a:cubicBezTo>
                      <a:pt x="284" y="142"/>
                      <a:pt x="283" y="143"/>
                      <a:pt x="283" y="144"/>
                    </a:cubicBezTo>
                    <a:cubicBezTo>
                      <a:pt x="284" y="143"/>
                      <a:pt x="284" y="143"/>
                      <a:pt x="284" y="143"/>
                    </a:cubicBezTo>
                    <a:cubicBezTo>
                      <a:pt x="283" y="149"/>
                      <a:pt x="285" y="146"/>
                      <a:pt x="285" y="150"/>
                    </a:cubicBezTo>
                    <a:cubicBezTo>
                      <a:pt x="284" y="152"/>
                      <a:pt x="283" y="149"/>
                      <a:pt x="284" y="153"/>
                    </a:cubicBezTo>
                    <a:cubicBezTo>
                      <a:pt x="283" y="155"/>
                      <a:pt x="282" y="153"/>
                      <a:pt x="282" y="152"/>
                    </a:cubicBezTo>
                    <a:cubicBezTo>
                      <a:pt x="283" y="156"/>
                      <a:pt x="281" y="158"/>
                      <a:pt x="280" y="160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80" y="160"/>
                      <a:pt x="280" y="160"/>
                      <a:pt x="280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61"/>
                      <a:pt x="280" y="162"/>
                      <a:pt x="280" y="162"/>
                    </a:cubicBezTo>
                    <a:cubicBezTo>
                      <a:pt x="281" y="163"/>
                      <a:pt x="282" y="162"/>
                      <a:pt x="282" y="164"/>
                    </a:cubicBezTo>
                    <a:cubicBezTo>
                      <a:pt x="282" y="165"/>
                      <a:pt x="282" y="168"/>
                      <a:pt x="281" y="169"/>
                    </a:cubicBezTo>
                    <a:cubicBezTo>
                      <a:pt x="282" y="164"/>
                      <a:pt x="279" y="169"/>
                      <a:pt x="280" y="165"/>
                    </a:cubicBezTo>
                    <a:cubicBezTo>
                      <a:pt x="280" y="166"/>
                      <a:pt x="280" y="167"/>
                      <a:pt x="279" y="168"/>
                    </a:cubicBezTo>
                    <a:cubicBezTo>
                      <a:pt x="279" y="168"/>
                      <a:pt x="279" y="168"/>
                      <a:pt x="279" y="167"/>
                    </a:cubicBezTo>
                    <a:cubicBezTo>
                      <a:pt x="277" y="171"/>
                      <a:pt x="280" y="169"/>
                      <a:pt x="279" y="174"/>
                    </a:cubicBezTo>
                    <a:cubicBezTo>
                      <a:pt x="278" y="173"/>
                      <a:pt x="277" y="174"/>
                      <a:pt x="277" y="175"/>
                    </a:cubicBezTo>
                    <a:cubicBezTo>
                      <a:pt x="278" y="173"/>
                      <a:pt x="279" y="175"/>
                      <a:pt x="279" y="176"/>
                    </a:cubicBezTo>
                    <a:cubicBezTo>
                      <a:pt x="277" y="179"/>
                      <a:pt x="278" y="180"/>
                      <a:pt x="278" y="181"/>
                    </a:cubicBezTo>
                    <a:cubicBezTo>
                      <a:pt x="278" y="181"/>
                      <a:pt x="279" y="179"/>
                      <a:pt x="279" y="179"/>
                    </a:cubicBezTo>
                    <a:cubicBezTo>
                      <a:pt x="279" y="180"/>
                      <a:pt x="278" y="182"/>
                      <a:pt x="278" y="184"/>
                    </a:cubicBezTo>
                    <a:cubicBezTo>
                      <a:pt x="277" y="184"/>
                      <a:pt x="278" y="182"/>
                      <a:pt x="278" y="182"/>
                    </a:cubicBezTo>
                    <a:cubicBezTo>
                      <a:pt x="278" y="185"/>
                      <a:pt x="275" y="187"/>
                      <a:pt x="274" y="190"/>
                    </a:cubicBezTo>
                    <a:cubicBezTo>
                      <a:pt x="273" y="191"/>
                      <a:pt x="273" y="189"/>
                      <a:pt x="272" y="190"/>
                    </a:cubicBezTo>
                    <a:cubicBezTo>
                      <a:pt x="272" y="194"/>
                      <a:pt x="270" y="193"/>
                      <a:pt x="269" y="197"/>
                    </a:cubicBezTo>
                    <a:cubicBezTo>
                      <a:pt x="270" y="196"/>
                      <a:pt x="270" y="196"/>
                      <a:pt x="270" y="199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72" y="197"/>
                      <a:pt x="272" y="197"/>
                      <a:pt x="272" y="197"/>
                    </a:cubicBezTo>
                    <a:cubicBezTo>
                      <a:pt x="272" y="196"/>
                      <a:pt x="273" y="194"/>
                      <a:pt x="273" y="193"/>
                    </a:cubicBezTo>
                    <a:cubicBezTo>
                      <a:pt x="273" y="195"/>
                      <a:pt x="273" y="194"/>
                      <a:pt x="274" y="194"/>
                    </a:cubicBezTo>
                    <a:cubicBezTo>
                      <a:pt x="272" y="196"/>
                      <a:pt x="273" y="199"/>
                      <a:pt x="271" y="201"/>
                    </a:cubicBezTo>
                    <a:cubicBezTo>
                      <a:pt x="269" y="200"/>
                      <a:pt x="269" y="200"/>
                      <a:pt x="269" y="200"/>
                    </a:cubicBezTo>
                    <a:cubicBezTo>
                      <a:pt x="266" y="203"/>
                      <a:pt x="266" y="207"/>
                      <a:pt x="262" y="211"/>
                    </a:cubicBezTo>
                    <a:cubicBezTo>
                      <a:pt x="264" y="210"/>
                      <a:pt x="264" y="210"/>
                      <a:pt x="264" y="210"/>
                    </a:cubicBezTo>
                    <a:cubicBezTo>
                      <a:pt x="264" y="211"/>
                      <a:pt x="262" y="213"/>
                      <a:pt x="261" y="215"/>
                    </a:cubicBezTo>
                    <a:cubicBezTo>
                      <a:pt x="261" y="214"/>
                      <a:pt x="260" y="215"/>
                      <a:pt x="259" y="215"/>
                    </a:cubicBezTo>
                    <a:cubicBezTo>
                      <a:pt x="259" y="216"/>
                      <a:pt x="256" y="219"/>
                      <a:pt x="257" y="220"/>
                    </a:cubicBezTo>
                    <a:cubicBezTo>
                      <a:pt x="255" y="221"/>
                      <a:pt x="255" y="221"/>
                      <a:pt x="255" y="221"/>
                    </a:cubicBezTo>
                    <a:cubicBezTo>
                      <a:pt x="252" y="225"/>
                      <a:pt x="253" y="227"/>
                      <a:pt x="250" y="230"/>
                    </a:cubicBezTo>
                    <a:cubicBezTo>
                      <a:pt x="250" y="228"/>
                      <a:pt x="249" y="229"/>
                      <a:pt x="250" y="227"/>
                    </a:cubicBezTo>
                    <a:cubicBezTo>
                      <a:pt x="249" y="228"/>
                      <a:pt x="248" y="229"/>
                      <a:pt x="249" y="229"/>
                    </a:cubicBezTo>
                    <a:cubicBezTo>
                      <a:pt x="248" y="229"/>
                      <a:pt x="247" y="233"/>
                      <a:pt x="245" y="233"/>
                    </a:cubicBezTo>
                    <a:cubicBezTo>
                      <a:pt x="245" y="234"/>
                      <a:pt x="245" y="235"/>
                      <a:pt x="244" y="236"/>
                    </a:cubicBezTo>
                    <a:cubicBezTo>
                      <a:pt x="244" y="236"/>
                      <a:pt x="244" y="236"/>
                      <a:pt x="244" y="236"/>
                    </a:cubicBezTo>
                    <a:cubicBezTo>
                      <a:pt x="244" y="236"/>
                      <a:pt x="242" y="238"/>
                      <a:pt x="244" y="237"/>
                    </a:cubicBezTo>
                    <a:cubicBezTo>
                      <a:pt x="239" y="238"/>
                      <a:pt x="235" y="246"/>
                      <a:pt x="230" y="246"/>
                    </a:cubicBezTo>
                    <a:cubicBezTo>
                      <a:pt x="227" y="248"/>
                      <a:pt x="225" y="251"/>
                      <a:pt x="222" y="253"/>
                    </a:cubicBezTo>
                    <a:cubicBezTo>
                      <a:pt x="222" y="252"/>
                      <a:pt x="222" y="252"/>
                      <a:pt x="222" y="252"/>
                    </a:cubicBezTo>
                    <a:cubicBezTo>
                      <a:pt x="219" y="253"/>
                      <a:pt x="221" y="255"/>
                      <a:pt x="217" y="257"/>
                    </a:cubicBezTo>
                    <a:cubicBezTo>
                      <a:pt x="214" y="257"/>
                      <a:pt x="219" y="255"/>
                      <a:pt x="217" y="255"/>
                    </a:cubicBezTo>
                    <a:cubicBezTo>
                      <a:pt x="215" y="253"/>
                      <a:pt x="213" y="259"/>
                      <a:pt x="209" y="258"/>
                    </a:cubicBezTo>
                    <a:cubicBezTo>
                      <a:pt x="210" y="258"/>
                      <a:pt x="210" y="258"/>
                      <a:pt x="210" y="258"/>
                    </a:cubicBezTo>
                    <a:cubicBezTo>
                      <a:pt x="207" y="258"/>
                      <a:pt x="205" y="261"/>
                      <a:pt x="202" y="263"/>
                    </a:cubicBezTo>
                    <a:cubicBezTo>
                      <a:pt x="202" y="263"/>
                      <a:pt x="202" y="262"/>
                      <a:pt x="201" y="262"/>
                    </a:cubicBezTo>
                    <a:cubicBezTo>
                      <a:pt x="200" y="265"/>
                      <a:pt x="195" y="267"/>
                      <a:pt x="192" y="268"/>
                    </a:cubicBezTo>
                    <a:cubicBezTo>
                      <a:pt x="192" y="267"/>
                      <a:pt x="193" y="267"/>
                      <a:pt x="192" y="266"/>
                    </a:cubicBezTo>
                    <a:cubicBezTo>
                      <a:pt x="190" y="267"/>
                      <a:pt x="193" y="268"/>
                      <a:pt x="190" y="269"/>
                    </a:cubicBezTo>
                    <a:cubicBezTo>
                      <a:pt x="189" y="269"/>
                      <a:pt x="186" y="269"/>
                      <a:pt x="186" y="268"/>
                    </a:cubicBezTo>
                    <a:cubicBezTo>
                      <a:pt x="186" y="268"/>
                      <a:pt x="186" y="268"/>
                      <a:pt x="187" y="268"/>
                    </a:cubicBezTo>
                    <a:cubicBezTo>
                      <a:pt x="188" y="268"/>
                      <a:pt x="189" y="267"/>
                      <a:pt x="189" y="267"/>
                    </a:cubicBezTo>
                    <a:cubicBezTo>
                      <a:pt x="187" y="267"/>
                      <a:pt x="185" y="268"/>
                      <a:pt x="183" y="269"/>
                    </a:cubicBezTo>
                    <a:cubicBezTo>
                      <a:pt x="183" y="268"/>
                      <a:pt x="183" y="268"/>
                      <a:pt x="183" y="268"/>
                    </a:cubicBezTo>
                    <a:cubicBezTo>
                      <a:pt x="179" y="269"/>
                      <a:pt x="179" y="271"/>
                      <a:pt x="174" y="272"/>
                    </a:cubicBezTo>
                    <a:cubicBezTo>
                      <a:pt x="175" y="272"/>
                      <a:pt x="175" y="272"/>
                      <a:pt x="175" y="272"/>
                    </a:cubicBezTo>
                    <a:cubicBezTo>
                      <a:pt x="172" y="274"/>
                      <a:pt x="172" y="272"/>
                      <a:pt x="169" y="273"/>
                    </a:cubicBezTo>
                    <a:cubicBezTo>
                      <a:pt x="168" y="272"/>
                      <a:pt x="168" y="272"/>
                      <a:pt x="168" y="272"/>
                    </a:cubicBezTo>
                    <a:cubicBezTo>
                      <a:pt x="167" y="272"/>
                      <a:pt x="162" y="274"/>
                      <a:pt x="159" y="275"/>
                    </a:cubicBezTo>
                    <a:cubicBezTo>
                      <a:pt x="161" y="274"/>
                      <a:pt x="165" y="272"/>
                      <a:pt x="167" y="272"/>
                    </a:cubicBezTo>
                    <a:cubicBezTo>
                      <a:pt x="165" y="272"/>
                      <a:pt x="161" y="273"/>
                      <a:pt x="160" y="273"/>
                    </a:cubicBezTo>
                    <a:cubicBezTo>
                      <a:pt x="161" y="273"/>
                      <a:pt x="161" y="273"/>
                      <a:pt x="162" y="273"/>
                    </a:cubicBezTo>
                    <a:cubicBezTo>
                      <a:pt x="160" y="274"/>
                      <a:pt x="157" y="275"/>
                      <a:pt x="153" y="275"/>
                    </a:cubicBezTo>
                    <a:cubicBezTo>
                      <a:pt x="154" y="274"/>
                      <a:pt x="151" y="274"/>
                      <a:pt x="148" y="274"/>
                    </a:cubicBezTo>
                    <a:cubicBezTo>
                      <a:pt x="148" y="274"/>
                      <a:pt x="147" y="274"/>
                      <a:pt x="146" y="274"/>
                    </a:cubicBezTo>
                    <a:cubicBezTo>
                      <a:pt x="146" y="274"/>
                      <a:pt x="145" y="274"/>
                      <a:pt x="144" y="273"/>
                    </a:cubicBezTo>
                    <a:cubicBezTo>
                      <a:pt x="143" y="273"/>
                      <a:pt x="142" y="273"/>
                      <a:pt x="141" y="272"/>
                    </a:cubicBezTo>
                    <a:cubicBezTo>
                      <a:pt x="138" y="273"/>
                      <a:pt x="135" y="272"/>
                      <a:pt x="131" y="272"/>
                    </a:cubicBezTo>
                    <a:cubicBezTo>
                      <a:pt x="128" y="271"/>
                      <a:pt x="125" y="270"/>
                      <a:pt x="121" y="270"/>
                    </a:cubicBezTo>
                    <a:cubicBezTo>
                      <a:pt x="123" y="273"/>
                      <a:pt x="119" y="270"/>
                      <a:pt x="119" y="272"/>
                    </a:cubicBezTo>
                    <a:cubicBezTo>
                      <a:pt x="117" y="272"/>
                      <a:pt x="117" y="272"/>
                      <a:pt x="117" y="272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1" y="268"/>
                      <a:pt x="113" y="269"/>
                      <a:pt x="113" y="268"/>
                    </a:cubicBezTo>
                    <a:cubicBezTo>
                      <a:pt x="110" y="267"/>
                      <a:pt x="112" y="267"/>
                      <a:pt x="110" y="266"/>
                    </a:cubicBezTo>
                    <a:cubicBezTo>
                      <a:pt x="110" y="267"/>
                      <a:pt x="108" y="267"/>
                      <a:pt x="106" y="266"/>
                    </a:cubicBezTo>
                    <a:cubicBezTo>
                      <a:pt x="109" y="268"/>
                      <a:pt x="109" y="268"/>
                      <a:pt x="109" y="268"/>
                    </a:cubicBezTo>
                    <a:cubicBezTo>
                      <a:pt x="103" y="268"/>
                      <a:pt x="105" y="264"/>
                      <a:pt x="100" y="264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99" y="263"/>
                      <a:pt x="92" y="261"/>
                      <a:pt x="89" y="261"/>
                    </a:cubicBezTo>
                    <a:cubicBezTo>
                      <a:pt x="89" y="261"/>
                      <a:pt x="88" y="260"/>
                      <a:pt x="89" y="260"/>
                    </a:cubicBezTo>
                    <a:cubicBezTo>
                      <a:pt x="87" y="258"/>
                      <a:pt x="83" y="257"/>
                      <a:pt x="80" y="256"/>
                    </a:cubicBezTo>
                    <a:cubicBezTo>
                      <a:pt x="77" y="255"/>
                      <a:pt x="74" y="253"/>
                      <a:pt x="72" y="252"/>
                    </a:cubicBezTo>
                    <a:cubicBezTo>
                      <a:pt x="72" y="251"/>
                      <a:pt x="72" y="251"/>
                      <a:pt x="72" y="251"/>
                    </a:cubicBezTo>
                    <a:cubicBezTo>
                      <a:pt x="71" y="251"/>
                      <a:pt x="70" y="251"/>
                      <a:pt x="69" y="250"/>
                    </a:cubicBezTo>
                    <a:cubicBezTo>
                      <a:pt x="69" y="250"/>
                      <a:pt x="70" y="250"/>
                      <a:pt x="69" y="249"/>
                    </a:cubicBezTo>
                    <a:cubicBezTo>
                      <a:pt x="69" y="249"/>
                      <a:pt x="66" y="248"/>
                      <a:pt x="65" y="247"/>
                    </a:cubicBezTo>
                    <a:cubicBezTo>
                      <a:pt x="66" y="247"/>
                      <a:pt x="66" y="247"/>
                      <a:pt x="66" y="247"/>
                    </a:cubicBezTo>
                    <a:cubicBezTo>
                      <a:pt x="62" y="243"/>
                      <a:pt x="57" y="243"/>
                      <a:pt x="53" y="240"/>
                    </a:cubicBezTo>
                    <a:cubicBezTo>
                      <a:pt x="54" y="238"/>
                      <a:pt x="51" y="235"/>
                      <a:pt x="49" y="233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45" y="227"/>
                      <a:pt x="40" y="225"/>
                      <a:pt x="35" y="220"/>
                    </a:cubicBezTo>
                    <a:cubicBezTo>
                      <a:pt x="34" y="215"/>
                      <a:pt x="27" y="207"/>
                      <a:pt x="25" y="201"/>
                    </a:cubicBezTo>
                    <a:cubicBezTo>
                      <a:pt x="25" y="202"/>
                      <a:pt x="24" y="201"/>
                      <a:pt x="23" y="200"/>
                    </a:cubicBezTo>
                    <a:cubicBezTo>
                      <a:pt x="23" y="199"/>
                      <a:pt x="20" y="197"/>
                      <a:pt x="21" y="196"/>
                    </a:cubicBezTo>
                    <a:cubicBezTo>
                      <a:pt x="22" y="197"/>
                      <a:pt x="22" y="197"/>
                      <a:pt x="22" y="197"/>
                    </a:cubicBezTo>
                    <a:cubicBezTo>
                      <a:pt x="23" y="195"/>
                      <a:pt x="21" y="193"/>
                      <a:pt x="20" y="190"/>
                    </a:cubicBezTo>
                    <a:cubicBezTo>
                      <a:pt x="18" y="190"/>
                      <a:pt x="18" y="190"/>
                      <a:pt x="18" y="190"/>
                    </a:cubicBezTo>
                    <a:cubicBezTo>
                      <a:pt x="18" y="187"/>
                      <a:pt x="16" y="183"/>
                      <a:pt x="14" y="179"/>
                    </a:cubicBezTo>
                    <a:cubicBezTo>
                      <a:pt x="13" y="175"/>
                      <a:pt x="12" y="172"/>
                      <a:pt x="13" y="170"/>
                    </a:cubicBezTo>
                    <a:cubicBezTo>
                      <a:pt x="12" y="169"/>
                      <a:pt x="12" y="168"/>
                      <a:pt x="11" y="167"/>
                    </a:cubicBezTo>
                    <a:cubicBezTo>
                      <a:pt x="11" y="166"/>
                      <a:pt x="11" y="166"/>
                      <a:pt x="10" y="165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11" y="160"/>
                      <a:pt x="11" y="158"/>
                      <a:pt x="10" y="153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1"/>
                      <a:pt x="7" y="150"/>
                      <a:pt x="7" y="147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4"/>
                      <a:pt x="9" y="143"/>
                      <a:pt x="9" y="142"/>
                    </a:cubicBezTo>
                    <a:cubicBezTo>
                      <a:pt x="9" y="141"/>
                      <a:pt x="9" y="139"/>
                      <a:pt x="9" y="138"/>
                    </a:cubicBezTo>
                    <a:cubicBezTo>
                      <a:pt x="10" y="135"/>
                      <a:pt x="10" y="132"/>
                      <a:pt x="9" y="129"/>
                    </a:cubicBezTo>
                    <a:cubicBezTo>
                      <a:pt x="9" y="130"/>
                      <a:pt x="10" y="130"/>
                      <a:pt x="10" y="131"/>
                    </a:cubicBezTo>
                    <a:cubicBezTo>
                      <a:pt x="10" y="128"/>
                      <a:pt x="12" y="121"/>
                      <a:pt x="10" y="122"/>
                    </a:cubicBezTo>
                    <a:cubicBezTo>
                      <a:pt x="11" y="122"/>
                      <a:pt x="11" y="116"/>
                      <a:pt x="11" y="113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11" y="111"/>
                      <a:pt x="11" y="111"/>
                      <a:pt x="11" y="107"/>
                    </a:cubicBezTo>
                    <a:cubicBezTo>
                      <a:pt x="11" y="106"/>
                      <a:pt x="12" y="107"/>
                      <a:pt x="12" y="108"/>
                    </a:cubicBezTo>
                    <a:cubicBezTo>
                      <a:pt x="13" y="105"/>
                      <a:pt x="11" y="105"/>
                      <a:pt x="13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4" y="101"/>
                      <a:pt x="13" y="101"/>
                      <a:pt x="13" y="99"/>
                    </a:cubicBezTo>
                    <a:cubicBezTo>
                      <a:pt x="13" y="97"/>
                      <a:pt x="15" y="94"/>
                      <a:pt x="16" y="94"/>
                    </a:cubicBezTo>
                    <a:cubicBezTo>
                      <a:pt x="16" y="94"/>
                      <a:pt x="16" y="92"/>
                      <a:pt x="17" y="90"/>
                    </a:cubicBezTo>
                    <a:cubicBezTo>
                      <a:pt x="17" y="90"/>
                      <a:pt x="17" y="91"/>
                      <a:pt x="17" y="91"/>
                    </a:cubicBezTo>
                    <a:cubicBezTo>
                      <a:pt x="18" y="89"/>
                      <a:pt x="19" y="88"/>
                      <a:pt x="19" y="86"/>
                    </a:cubicBezTo>
                    <a:cubicBezTo>
                      <a:pt x="20" y="84"/>
                      <a:pt x="20" y="83"/>
                      <a:pt x="21" y="82"/>
                    </a:cubicBezTo>
                    <a:cubicBezTo>
                      <a:pt x="22" y="82"/>
                      <a:pt x="22" y="82"/>
                      <a:pt x="22" y="82"/>
                    </a:cubicBezTo>
                    <a:cubicBezTo>
                      <a:pt x="21" y="85"/>
                      <a:pt x="19" y="88"/>
                      <a:pt x="19" y="87"/>
                    </a:cubicBezTo>
                    <a:cubicBezTo>
                      <a:pt x="20" y="88"/>
                      <a:pt x="22" y="85"/>
                      <a:pt x="22" y="88"/>
                    </a:cubicBezTo>
                    <a:cubicBezTo>
                      <a:pt x="22" y="85"/>
                      <a:pt x="23" y="81"/>
                      <a:pt x="24" y="79"/>
                    </a:cubicBezTo>
                    <a:cubicBezTo>
                      <a:pt x="24" y="78"/>
                      <a:pt x="25" y="78"/>
                      <a:pt x="25" y="78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5" y="78"/>
                      <a:pt x="25" y="78"/>
                      <a:pt x="26" y="77"/>
                    </a:cubicBezTo>
                    <a:cubicBezTo>
                      <a:pt x="26" y="76"/>
                      <a:pt x="27" y="76"/>
                      <a:pt x="27" y="75"/>
                    </a:cubicBezTo>
                    <a:cubicBezTo>
                      <a:pt x="28" y="75"/>
                      <a:pt x="29" y="72"/>
                      <a:pt x="30" y="71"/>
                    </a:cubicBezTo>
                    <a:cubicBezTo>
                      <a:pt x="29" y="71"/>
                      <a:pt x="30" y="69"/>
                      <a:pt x="29" y="70"/>
                    </a:cubicBezTo>
                    <a:cubicBezTo>
                      <a:pt x="29" y="70"/>
                      <a:pt x="29" y="70"/>
                      <a:pt x="28" y="71"/>
                    </a:cubicBezTo>
                    <a:cubicBezTo>
                      <a:pt x="28" y="71"/>
                      <a:pt x="28" y="72"/>
                      <a:pt x="28" y="72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7" y="73"/>
                      <a:pt x="27" y="74"/>
                      <a:pt x="26" y="75"/>
                    </a:cubicBezTo>
                    <a:cubicBezTo>
                      <a:pt x="26" y="74"/>
                      <a:pt x="26" y="72"/>
                      <a:pt x="28" y="71"/>
                    </a:cubicBezTo>
                    <a:cubicBezTo>
                      <a:pt x="28" y="70"/>
                      <a:pt x="27" y="69"/>
                      <a:pt x="27" y="68"/>
                    </a:cubicBezTo>
                    <a:cubicBezTo>
                      <a:pt x="29" y="68"/>
                      <a:pt x="30" y="67"/>
                      <a:pt x="31" y="66"/>
                    </a:cubicBezTo>
                    <a:cubicBezTo>
                      <a:pt x="32" y="65"/>
                      <a:pt x="33" y="65"/>
                      <a:pt x="34" y="65"/>
                    </a:cubicBezTo>
                    <a:cubicBezTo>
                      <a:pt x="36" y="61"/>
                      <a:pt x="40" y="56"/>
                      <a:pt x="41" y="52"/>
                    </a:cubicBezTo>
                    <a:cubicBezTo>
                      <a:pt x="42" y="51"/>
                      <a:pt x="42" y="52"/>
                      <a:pt x="43" y="52"/>
                    </a:cubicBezTo>
                    <a:cubicBezTo>
                      <a:pt x="43" y="52"/>
                      <a:pt x="42" y="53"/>
                      <a:pt x="42" y="54"/>
                    </a:cubicBezTo>
                    <a:cubicBezTo>
                      <a:pt x="43" y="51"/>
                      <a:pt x="47" y="48"/>
                      <a:pt x="47" y="46"/>
                    </a:cubicBezTo>
                    <a:cubicBezTo>
                      <a:pt x="50" y="44"/>
                      <a:pt x="46" y="48"/>
                      <a:pt x="49" y="45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54" y="44"/>
                      <a:pt x="56" y="41"/>
                      <a:pt x="58" y="37"/>
                    </a:cubicBezTo>
                    <a:cubicBezTo>
                      <a:pt x="61" y="35"/>
                      <a:pt x="63" y="32"/>
                      <a:pt x="68" y="30"/>
                    </a:cubicBezTo>
                    <a:cubicBezTo>
                      <a:pt x="68" y="30"/>
                      <a:pt x="67" y="30"/>
                      <a:pt x="67" y="30"/>
                    </a:cubicBezTo>
                    <a:cubicBezTo>
                      <a:pt x="70" y="29"/>
                      <a:pt x="72" y="28"/>
                      <a:pt x="75" y="26"/>
                    </a:cubicBezTo>
                    <a:cubicBezTo>
                      <a:pt x="77" y="24"/>
                      <a:pt x="80" y="23"/>
                      <a:pt x="83" y="22"/>
                    </a:cubicBezTo>
                    <a:cubicBezTo>
                      <a:pt x="85" y="20"/>
                      <a:pt x="88" y="19"/>
                      <a:pt x="91" y="18"/>
                    </a:cubicBezTo>
                    <a:cubicBezTo>
                      <a:pt x="93" y="17"/>
                      <a:pt x="96" y="16"/>
                      <a:pt x="99" y="16"/>
                    </a:cubicBezTo>
                    <a:cubicBezTo>
                      <a:pt x="102" y="15"/>
                      <a:pt x="102" y="14"/>
                      <a:pt x="104" y="1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10" y="10"/>
                      <a:pt x="112" y="11"/>
                      <a:pt x="115" y="11"/>
                    </a:cubicBezTo>
                    <a:cubicBezTo>
                      <a:pt x="116" y="11"/>
                      <a:pt x="117" y="11"/>
                      <a:pt x="118" y="10"/>
                    </a:cubicBezTo>
                    <a:cubicBezTo>
                      <a:pt x="119" y="10"/>
                      <a:pt x="121" y="10"/>
                      <a:pt x="122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23" y="9"/>
                      <a:pt x="128" y="7"/>
                      <a:pt x="128" y="8"/>
                    </a:cubicBezTo>
                    <a:cubicBezTo>
                      <a:pt x="128" y="8"/>
                      <a:pt x="128" y="7"/>
                      <a:pt x="129" y="8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9" y="8"/>
                      <a:pt x="131" y="8"/>
                      <a:pt x="132" y="7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9" y="7"/>
                      <a:pt x="134" y="9"/>
                      <a:pt x="140" y="9"/>
                    </a:cubicBezTo>
                    <a:cubicBezTo>
                      <a:pt x="143" y="9"/>
                      <a:pt x="147" y="7"/>
                      <a:pt x="146" y="6"/>
                    </a:cubicBezTo>
                    <a:cubicBezTo>
                      <a:pt x="145" y="6"/>
                      <a:pt x="143" y="6"/>
                      <a:pt x="143" y="6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6" y="3"/>
                      <a:pt x="147" y="1"/>
                      <a:pt x="142" y="0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0"/>
                      <a:pt x="137" y="0"/>
                      <a:pt x="136" y="1"/>
                    </a:cubicBezTo>
                    <a:cubicBezTo>
                      <a:pt x="136" y="1"/>
                      <a:pt x="135" y="0"/>
                      <a:pt x="135" y="0"/>
                    </a:cubicBez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1"/>
                      <a:pt x="133" y="1"/>
                      <a:pt x="130" y="0"/>
                    </a:cubicBezTo>
                    <a:cubicBezTo>
                      <a:pt x="129" y="1"/>
                      <a:pt x="132" y="2"/>
                      <a:pt x="129" y="3"/>
                    </a:cubicBezTo>
                    <a:cubicBezTo>
                      <a:pt x="128" y="2"/>
                      <a:pt x="128" y="1"/>
                      <a:pt x="126" y="2"/>
                    </a:cubicBezTo>
                    <a:cubicBezTo>
                      <a:pt x="126" y="2"/>
                      <a:pt x="126" y="2"/>
                      <a:pt x="127" y="1"/>
                    </a:cubicBezTo>
                    <a:cubicBezTo>
                      <a:pt x="125" y="2"/>
                      <a:pt x="122" y="2"/>
                      <a:pt x="121" y="3"/>
                    </a:cubicBezTo>
                    <a:cubicBezTo>
                      <a:pt x="119" y="2"/>
                      <a:pt x="115" y="5"/>
                      <a:pt x="115" y="3"/>
                    </a:cubicBezTo>
                    <a:cubicBezTo>
                      <a:pt x="114" y="3"/>
                      <a:pt x="112" y="5"/>
                      <a:pt x="110" y="5"/>
                    </a:cubicBezTo>
                    <a:cubicBezTo>
                      <a:pt x="113" y="3"/>
                      <a:pt x="104" y="7"/>
                      <a:pt x="104" y="4"/>
                    </a:cubicBezTo>
                    <a:cubicBezTo>
                      <a:pt x="103" y="7"/>
                      <a:pt x="97" y="8"/>
                      <a:pt x="93" y="10"/>
                    </a:cubicBezTo>
                    <a:cubicBezTo>
                      <a:pt x="93" y="10"/>
                      <a:pt x="94" y="9"/>
                      <a:pt x="94" y="9"/>
                    </a:cubicBezTo>
                    <a:cubicBezTo>
                      <a:pt x="92" y="10"/>
                      <a:pt x="91" y="10"/>
                      <a:pt x="90" y="10"/>
                    </a:cubicBezTo>
                    <a:cubicBezTo>
                      <a:pt x="90" y="11"/>
                      <a:pt x="87" y="13"/>
                      <a:pt x="85" y="15"/>
                    </a:cubicBezTo>
                    <a:cubicBezTo>
                      <a:pt x="82" y="15"/>
                      <a:pt x="86" y="13"/>
                      <a:pt x="85" y="12"/>
                    </a:cubicBezTo>
                    <a:cubicBezTo>
                      <a:pt x="85" y="13"/>
                      <a:pt x="81" y="15"/>
                      <a:pt x="82" y="15"/>
                    </a:cubicBezTo>
                    <a:cubicBezTo>
                      <a:pt x="80" y="15"/>
                      <a:pt x="80" y="16"/>
                      <a:pt x="79" y="15"/>
                    </a:cubicBezTo>
                    <a:cubicBezTo>
                      <a:pt x="79" y="17"/>
                      <a:pt x="77" y="16"/>
                      <a:pt x="76" y="18"/>
                    </a:cubicBezTo>
                    <a:cubicBezTo>
                      <a:pt x="73" y="19"/>
                      <a:pt x="75" y="17"/>
                      <a:pt x="72" y="19"/>
                    </a:cubicBezTo>
                    <a:cubicBezTo>
                      <a:pt x="70" y="19"/>
                      <a:pt x="72" y="17"/>
                      <a:pt x="72" y="17"/>
                    </a:cubicBezTo>
                    <a:moveTo>
                      <a:pt x="18" y="76"/>
                    </a:move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5"/>
                      <a:pt x="18" y="75"/>
                      <a:pt x="19" y="74"/>
                    </a:cubicBezTo>
                    <a:cubicBezTo>
                      <a:pt x="18" y="75"/>
                      <a:pt x="18" y="75"/>
                      <a:pt x="18" y="76"/>
                    </a:cubicBezTo>
                    <a:moveTo>
                      <a:pt x="15" y="82"/>
                    </a:moveTo>
                    <a:cubicBezTo>
                      <a:pt x="15" y="81"/>
                      <a:pt x="16" y="80"/>
                      <a:pt x="16" y="79"/>
                    </a:cubicBezTo>
                    <a:cubicBezTo>
                      <a:pt x="17" y="79"/>
                      <a:pt x="17" y="80"/>
                      <a:pt x="17" y="80"/>
                    </a:cubicBezTo>
                    <a:cubicBezTo>
                      <a:pt x="17" y="80"/>
                      <a:pt x="16" y="81"/>
                      <a:pt x="15" y="82"/>
                    </a:cubicBezTo>
                    <a:moveTo>
                      <a:pt x="28" y="74"/>
                    </a:moveTo>
                    <a:cubicBezTo>
                      <a:pt x="28" y="75"/>
                      <a:pt x="28" y="75"/>
                      <a:pt x="27" y="75"/>
                    </a:cubicBezTo>
                    <a:cubicBezTo>
                      <a:pt x="28" y="74"/>
                      <a:pt x="28" y="74"/>
                      <a:pt x="28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73"/>
                      <a:pt x="28" y="73"/>
                      <a:pt x="28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1" name="Freeform 18"/>
              <p:cNvSpPr>
                <a:spLocks noEditPoints="1"/>
              </p:cNvSpPr>
              <p:nvPr/>
            </p:nvSpPr>
            <p:spPr bwMode="auto">
              <a:xfrm>
                <a:off x="-1887538" y="1495425"/>
                <a:ext cx="1830388" cy="1766888"/>
              </a:xfrm>
              <a:custGeom>
                <a:avLst/>
                <a:gdLst>
                  <a:gd name="T0" fmla="*/ 357 w 488"/>
                  <a:gd name="T1" fmla="*/ 314 h 471"/>
                  <a:gd name="T2" fmla="*/ 392 w 488"/>
                  <a:gd name="T3" fmla="*/ 351 h 471"/>
                  <a:gd name="T4" fmla="*/ 451 w 488"/>
                  <a:gd name="T5" fmla="*/ 415 h 471"/>
                  <a:gd name="T6" fmla="*/ 479 w 488"/>
                  <a:gd name="T7" fmla="*/ 442 h 471"/>
                  <a:gd name="T8" fmla="*/ 458 w 488"/>
                  <a:gd name="T9" fmla="*/ 463 h 471"/>
                  <a:gd name="T10" fmla="*/ 441 w 488"/>
                  <a:gd name="T11" fmla="*/ 448 h 471"/>
                  <a:gd name="T12" fmla="*/ 403 w 488"/>
                  <a:gd name="T13" fmla="*/ 405 h 471"/>
                  <a:gd name="T14" fmla="*/ 358 w 488"/>
                  <a:gd name="T15" fmla="*/ 361 h 471"/>
                  <a:gd name="T16" fmla="*/ 290 w 488"/>
                  <a:gd name="T17" fmla="*/ 295 h 471"/>
                  <a:gd name="T18" fmla="*/ 280 w 488"/>
                  <a:gd name="T19" fmla="*/ 289 h 471"/>
                  <a:gd name="T20" fmla="*/ 243 w 488"/>
                  <a:gd name="T21" fmla="*/ 309 h 471"/>
                  <a:gd name="T22" fmla="*/ 177 w 488"/>
                  <a:gd name="T23" fmla="*/ 321 h 471"/>
                  <a:gd name="T24" fmla="*/ 170 w 488"/>
                  <a:gd name="T25" fmla="*/ 321 h 471"/>
                  <a:gd name="T26" fmla="*/ 53 w 488"/>
                  <a:gd name="T27" fmla="*/ 270 h 471"/>
                  <a:gd name="T28" fmla="*/ 20 w 488"/>
                  <a:gd name="T29" fmla="*/ 222 h 471"/>
                  <a:gd name="T30" fmla="*/ 9 w 488"/>
                  <a:gd name="T31" fmla="*/ 164 h 471"/>
                  <a:gd name="T32" fmla="*/ 18 w 488"/>
                  <a:gd name="T33" fmla="*/ 112 h 471"/>
                  <a:gd name="T34" fmla="*/ 37 w 488"/>
                  <a:gd name="T35" fmla="*/ 74 h 471"/>
                  <a:gd name="T36" fmla="*/ 72 w 488"/>
                  <a:gd name="T37" fmla="*/ 39 h 471"/>
                  <a:gd name="T38" fmla="*/ 108 w 488"/>
                  <a:gd name="T39" fmla="*/ 17 h 471"/>
                  <a:gd name="T40" fmla="*/ 150 w 488"/>
                  <a:gd name="T41" fmla="*/ 7 h 471"/>
                  <a:gd name="T42" fmla="*/ 201 w 488"/>
                  <a:gd name="T43" fmla="*/ 6 h 471"/>
                  <a:gd name="T44" fmla="*/ 259 w 488"/>
                  <a:gd name="T45" fmla="*/ 23 h 471"/>
                  <a:gd name="T46" fmla="*/ 288 w 488"/>
                  <a:gd name="T47" fmla="*/ 45 h 471"/>
                  <a:gd name="T48" fmla="*/ 321 w 488"/>
                  <a:gd name="T49" fmla="*/ 82 h 471"/>
                  <a:gd name="T50" fmla="*/ 344 w 488"/>
                  <a:gd name="T51" fmla="*/ 133 h 471"/>
                  <a:gd name="T52" fmla="*/ 340 w 488"/>
                  <a:gd name="T53" fmla="*/ 116 h 471"/>
                  <a:gd name="T54" fmla="*/ 327 w 488"/>
                  <a:gd name="T55" fmla="*/ 83 h 471"/>
                  <a:gd name="T56" fmla="*/ 301 w 488"/>
                  <a:gd name="T57" fmla="*/ 49 h 471"/>
                  <a:gd name="T58" fmla="*/ 244 w 488"/>
                  <a:gd name="T59" fmla="*/ 15 h 471"/>
                  <a:gd name="T60" fmla="*/ 226 w 488"/>
                  <a:gd name="T61" fmla="*/ 6 h 471"/>
                  <a:gd name="T62" fmla="*/ 179 w 488"/>
                  <a:gd name="T63" fmla="*/ 1 h 471"/>
                  <a:gd name="T64" fmla="*/ 129 w 488"/>
                  <a:gd name="T65" fmla="*/ 4 h 471"/>
                  <a:gd name="T66" fmla="*/ 78 w 488"/>
                  <a:gd name="T67" fmla="*/ 27 h 471"/>
                  <a:gd name="T68" fmla="*/ 39 w 488"/>
                  <a:gd name="T69" fmla="*/ 59 h 471"/>
                  <a:gd name="T70" fmla="*/ 26 w 488"/>
                  <a:gd name="T71" fmla="*/ 75 h 471"/>
                  <a:gd name="T72" fmla="*/ 3 w 488"/>
                  <a:gd name="T73" fmla="*/ 130 h 471"/>
                  <a:gd name="T74" fmla="*/ 5 w 488"/>
                  <a:gd name="T75" fmla="*/ 135 h 471"/>
                  <a:gd name="T76" fmla="*/ 4 w 488"/>
                  <a:gd name="T77" fmla="*/ 196 h 471"/>
                  <a:gd name="T78" fmla="*/ 33 w 488"/>
                  <a:gd name="T79" fmla="*/ 258 h 471"/>
                  <a:gd name="T80" fmla="*/ 77 w 488"/>
                  <a:gd name="T81" fmla="*/ 300 h 471"/>
                  <a:gd name="T82" fmla="*/ 125 w 488"/>
                  <a:gd name="T83" fmla="*/ 321 h 471"/>
                  <a:gd name="T84" fmla="*/ 193 w 488"/>
                  <a:gd name="T85" fmla="*/ 330 h 471"/>
                  <a:gd name="T86" fmla="*/ 235 w 488"/>
                  <a:gd name="T87" fmla="*/ 322 h 471"/>
                  <a:gd name="T88" fmla="*/ 285 w 488"/>
                  <a:gd name="T89" fmla="*/ 295 h 471"/>
                  <a:gd name="T90" fmla="*/ 281 w 488"/>
                  <a:gd name="T91" fmla="*/ 296 h 471"/>
                  <a:gd name="T92" fmla="*/ 350 w 488"/>
                  <a:gd name="T93" fmla="*/ 363 h 471"/>
                  <a:gd name="T94" fmla="*/ 441 w 488"/>
                  <a:gd name="T95" fmla="*/ 459 h 471"/>
                  <a:gd name="T96" fmla="*/ 457 w 488"/>
                  <a:gd name="T97" fmla="*/ 471 h 471"/>
                  <a:gd name="T98" fmla="*/ 483 w 488"/>
                  <a:gd name="T99" fmla="*/ 453 h 471"/>
                  <a:gd name="T100" fmla="*/ 473 w 488"/>
                  <a:gd name="T101" fmla="*/ 425 h 471"/>
                  <a:gd name="T102" fmla="*/ 431 w 488"/>
                  <a:gd name="T103" fmla="*/ 383 h 471"/>
                  <a:gd name="T104" fmla="*/ 414 w 488"/>
                  <a:gd name="T105" fmla="*/ 364 h 471"/>
                  <a:gd name="T106" fmla="*/ 388 w 488"/>
                  <a:gd name="T107" fmla="*/ 337 h 471"/>
                  <a:gd name="T108" fmla="*/ 316 w 488"/>
                  <a:gd name="T109" fmla="*/ 262 h 471"/>
                  <a:gd name="T110" fmla="*/ 323 w 488"/>
                  <a:gd name="T111" fmla="*/ 254 h 471"/>
                  <a:gd name="T112" fmla="*/ 348 w 488"/>
                  <a:gd name="T113" fmla="*/ 189 h 471"/>
                  <a:gd name="T114" fmla="*/ 344 w 488"/>
                  <a:gd name="T115" fmla="*/ 173 h 471"/>
                  <a:gd name="T116" fmla="*/ 333 w 488"/>
                  <a:gd name="T117" fmla="*/ 223 h 471"/>
                  <a:gd name="T118" fmla="*/ 312 w 488"/>
                  <a:gd name="T119" fmla="*/ 260 h 471"/>
                  <a:gd name="T120" fmla="*/ 311 w 488"/>
                  <a:gd name="T121" fmla="*/ 264 h 471"/>
                  <a:gd name="T122" fmla="*/ 423 w 488"/>
                  <a:gd name="T123" fmla="*/ 382 h 471"/>
                  <a:gd name="T124" fmla="*/ 419 w 488"/>
                  <a:gd name="T125" fmla="*/ 36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8" h="471">
                    <a:moveTo>
                      <a:pt x="324" y="285"/>
                    </a:moveTo>
                    <a:cubicBezTo>
                      <a:pt x="328" y="289"/>
                      <a:pt x="327" y="286"/>
                      <a:pt x="329" y="286"/>
                    </a:cubicBezTo>
                    <a:cubicBezTo>
                      <a:pt x="334" y="291"/>
                      <a:pt x="330" y="289"/>
                      <a:pt x="331" y="291"/>
                    </a:cubicBezTo>
                    <a:cubicBezTo>
                      <a:pt x="334" y="294"/>
                      <a:pt x="338" y="296"/>
                      <a:pt x="340" y="298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4" y="301"/>
                      <a:pt x="349" y="309"/>
                      <a:pt x="354" y="312"/>
                    </a:cubicBezTo>
                    <a:cubicBezTo>
                      <a:pt x="354" y="312"/>
                      <a:pt x="354" y="312"/>
                      <a:pt x="354" y="313"/>
                    </a:cubicBezTo>
                    <a:cubicBezTo>
                      <a:pt x="354" y="311"/>
                      <a:pt x="355" y="311"/>
                      <a:pt x="355" y="311"/>
                    </a:cubicBezTo>
                    <a:cubicBezTo>
                      <a:pt x="357" y="312"/>
                      <a:pt x="359" y="313"/>
                      <a:pt x="359" y="315"/>
                    </a:cubicBezTo>
                    <a:cubicBezTo>
                      <a:pt x="358" y="314"/>
                      <a:pt x="358" y="314"/>
                      <a:pt x="357" y="314"/>
                    </a:cubicBezTo>
                    <a:cubicBezTo>
                      <a:pt x="359" y="315"/>
                      <a:pt x="359" y="315"/>
                      <a:pt x="359" y="315"/>
                    </a:cubicBezTo>
                    <a:cubicBezTo>
                      <a:pt x="360" y="318"/>
                      <a:pt x="356" y="313"/>
                      <a:pt x="356" y="314"/>
                    </a:cubicBezTo>
                    <a:cubicBezTo>
                      <a:pt x="360" y="317"/>
                      <a:pt x="365" y="321"/>
                      <a:pt x="367" y="324"/>
                    </a:cubicBezTo>
                    <a:cubicBezTo>
                      <a:pt x="367" y="326"/>
                      <a:pt x="360" y="317"/>
                      <a:pt x="363" y="322"/>
                    </a:cubicBezTo>
                    <a:cubicBezTo>
                      <a:pt x="359" y="317"/>
                      <a:pt x="359" y="317"/>
                      <a:pt x="359" y="317"/>
                    </a:cubicBezTo>
                    <a:cubicBezTo>
                      <a:pt x="361" y="322"/>
                      <a:pt x="357" y="314"/>
                      <a:pt x="358" y="319"/>
                    </a:cubicBezTo>
                    <a:cubicBezTo>
                      <a:pt x="364" y="326"/>
                      <a:pt x="365" y="326"/>
                      <a:pt x="371" y="332"/>
                    </a:cubicBezTo>
                    <a:cubicBezTo>
                      <a:pt x="373" y="333"/>
                      <a:pt x="371" y="331"/>
                      <a:pt x="373" y="332"/>
                    </a:cubicBezTo>
                    <a:cubicBezTo>
                      <a:pt x="382" y="339"/>
                      <a:pt x="377" y="341"/>
                      <a:pt x="385" y="346"/>
                    </a:cubicBezTo>
                    <a:cubicBezTo>
                      <a:pt x="387" y="347"/>
                      <a:pt x="389" y="346"/>
                      <a:pt x="392" y="351"/>
                    </a:cubicBezTo>
                    <a:cubicBezTo>
                      <a:pt x="390" y="351"/>
                      <a:pt x="390" y="351"/>
                      <a:pt x="390" y="351"/>
                    </a:cubicBezTo>
                    <a:cubicBezTo>
                      <a:pt x="395" y="357"/>
                      <a:pt x="395" y="353"/>
                      <a:pt x="400" y="360"/>
                    </a:cubicBezTo>
                    <a:cubicBezTo>
                      <a:pt x="398" y="359"/>
                      <a:pt x="395" y="355"/>
                      <a:pt x="396" y="356"/>
                    </a:cubicBezTo>
                    <a:cubicBezTo>
                      <a:pt x="399" y="361"/>
                      <a:pt x="399" y="359"/>
                      <a:pt x="402" y="362"/>
                    </a:cubicBezTo>
                    <a:cubicBezTo>
                      <a:pt x="402" y="363"/>
                      <a:pt x="402" y="363"/>
                      <a:pt x="402" y="363"/>
                    </a:cubicBezTo>
                    <a:cubicBezTo>
                      <a:pt x="408" y="369"/>
                      <a:pt x="415" y="376"/>
                      <a:pt x="422" y="382"/>
                    </a:cubicBezTo>
                    <a:cubicBezTo>
                      <a:pt x="422" y="382"/>
                      <a:pt x="420" y="381"/>
                      <a:pt x="421" y="383"/>
                    </a:cubicBezTo>
                    <a:cubicBezTo>
                      <a:pt x="430" y="392"/>
                      <a:pt x="439" y="402"/>
                      <a:pt x="447" y="411"/>
                    </a:cubicBezTo>
                    <a:cubicBezTo>
                      <a:pt x="451" y="414"/>
                      <a:pt x="451" y="414"/>
                      <a:pt x="451" y="414"/>
                    </a:cubicBezTo>
                    <a:cubicBezTo>
                      <a:pt x="452" y="414"/>
                      <a:pt x="452" y="415"/>
                      <a:pt x="451" y="415"/>
                    </a:cubicBezTo>
                    <a:cubicBezTo>
                      <a:pt x="454" y="418"/>
                      <a:pt x="452" y="414"/>
                      <a:pt x="453" y="416"/>
                    </a:cubicBezTo>
                    <a:cubicBezTo>
                      <a:pt x="455" y="417"/>
                      <a:pt x="455" y="419"/>
                      <a:pt x="454" y="418"/>
                    </a:cubicBezTo>
                    <a:cubicBezTo>
                      <a:pt x="460" y="423"/>
                      <a:pt x="471" y="433"/>
                      <a:pt x="476" y="440"/>
                    </a:cubicBezTo>
                    <a:cubicBezTo>
                      <a:pt x="474" y="439"/>
                      <a:pt x="474" y="439"/>
                      <a:pt x="474" y="439"/>
                    </a:cubicBezTo>
                    <a:cubicBezTo>
                      <a:pt x="476" y="442"/>
                      <a:pt x="478" y="443"/>
                      <a:pt x="479" y="444"/>
                    </a:cubicBezTo>
                    <a:cubicBezTo>
                      <a:pt x="479" y="444"/>
                      <a:pt x="479" y="444"/>
                      <a:pt x="479" y="444"/>
                    </a:cubicBezTo>
                    <a:cubicBezTo>
                      <a:pt x="479" y="444"/>
                      <a:pt x="479" y="443"/>
                      <a:pt x="479" y="443"/>
                    </a:cubicBezTo>
                    <a:cubicBezTo>
                      <a:pt x="479" y="443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2"/>
                      <a:pt x="479" y="442"/>
                    </a:cubicBezTo>
                    <a:cubicBezTo>
                      <a:pt x="479" y="442"/>
                      <a:pt x="479" y="443"/>
                      <a:pt x="479" y="443"/>
                    </a:cubicBezTo>
                    <a:cubicBezTo>
                      <a:pt x="479" y="444"/>
                      <a:pt x="479" y="445"/>
                      <a:pt x="478" y="446"/>
                    </a:cubicBezTo>
                    <a:cubicBezTo>
                      <a:pt x="478" y="445"/>
                      <a:pt x="478" y="445"/>
                      <a:pt x="478" y="445"/>
                    </a:cubicBezTo>
                    <a:cubicBezTo>
                      <a:pt x="475" y="451"/>
                      <a:pt x="469" y="456"/>
                      <a:pt x="464" y="460"/>
                    </a:cubicBezTo>
                    <a:cubicBezTo>
                      <a:pt x="463" y="461"/>
                      <a:pt x="461" y="462"/>
                      <a:pt x="460" y="462"/>
                    </a:cubicBezTo>
                    <a:cubicBezTo>
                      <a:pt x="459" y="463"/>
                      <a:pt x="459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7" y="463"/>
                      <a:pt x="457" y="463"/>
                    </a:cubicBezTo>
                    <a:cubicBezTo>
                      <a:pt x="457" y="463"/>
                      <a:pt x="458" y="463"/>
                      <a:pt x="458" y="463"/>
                    </a:cubicBezTo>
                    <a:cubicBezTo>
                      <a:pt x="458" y="463"/>
                      <a:pt x="458" y="463"/>
                      <a:pt x="458" y="463"/>
                    </a:cubicBezTo>
                    <a:cubicBezTo>
                      <a:pt x="458" y="463"/>
                      <a:pt x="459" y="463"/>
                      <a:pt x="459" y="464"/>
                    </a:cubicBezTo>
                    <a:cubicBezTo>
                      <a:pt x="459" y="464"/>
                      <a:pt x="459" y="464"/>
                      <a:pt x="459" y="464"/>
                    </a:cubicBezTo>
                    <a:cubicBezTo>
                      <a:pt x="457" y="462"/>
                      <a:pt x="455" y="459"/>
                      <a:pt x="453" y="457"/>
                    </a:cubicBezTo>
                    <a:cubicBezTo>
                      <a:pt x="451" y="457"/>
                      <a:pt x="444" y="447"/>
                      <a:pt x="441" y="448"/>
                    </a:cubicBezTo>
                    <a:cubicBezTo>
                      <a:pt x="437" y="441"/>
                      <a:pt x="438" y="442"/>
                      <a:pt x="431" y="434"/>
                    </a:cubicBezTo>
                    <a:cubicBezTo>
                      <a:pt x="429" y="431"/>
                      <a:pt x="427" y="431"/>
                      <a:pt x="424" y="429"/>
                    </a:cubicBezTo>
                    <a:cubicBezTo>
                      <a:pt x="425" y="428"/>
                      <a:pt x="425" y="428"/>
                      <a:pt x="425" y="428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19" y="422"/>
                      <a:pt x="419" y="422"/>
                      <a:pt x="419" y="422"/>
                    </a:cubicBezTo>
                    <a:cubicBezTo>
                      <a:pt x="416" y="420"/>
                      <a:pt x="416" y="420"/>
                      <a:pt x="416" y="420"/>
                    </a:cubicBezTo>
                    <a:cubicBezTo>
                      <a:pt x="417" y="421"/>
                      <a:pt x="418" y="422"/>
                      <a:pt x="418" y="422"/>
                    </a:cubicBezTo>
                    <a:cubicBezTo>
                      <a:pt x="413" y="419"/>
                      <a:pt x="409" y="412"/>
                      <a:pt x="409" y="411"/>
                    </a:cubicBezTo>
                    <a:cubicBezTo>
                      <a:pt x="399" y="403"/>
                      <a:pt x="399" y="403"/>
                      <a:pt x="399" y="403"/>
                    </a:cubicBezTo>
                    <a:cubicBezTo>
                      <a:pt x="400" y="403"/>
                      <a:pt x="401" y="404"/>
                      <a:pt x="403" y="405"/>
                    </a:cubicBezTo>
                    <a:cubicBezTo>
                      <a:pt x="397" y="401"/>
                      <a:pt x="403" y="403"/>
                      <a:pt x="397" y="399"/>
                    </a:cubicBezTo>
                    <a:cubicBezTo>
                      <a:pt x="398" y="400"/>
                      <a:pt x="397" y="400"/>
                      <a:pt x="396" y="400"/>
                    </a:cubicBezTo>
                    <a:cubicBezTo>
                      <a:pt x="395" y="397"/>
                      <a:pt x="389" y="392"/>
                      <a:pt x="385" y="388"/>
                    </a:cubicBezTo>
                    <a:cubicBezTo>
                      <a:pt x="387" y="388"/>
                      <a:pt x="387" y="388"/>
                      <a:pt x="387" y="388"/>
                    </a:cubicBezTo>
                    <a:cubicBezTo>
                      <a:pt x="380" y="381"/>
                      <a:pt x="372" y="374"/>
                      <a:pt x="364" y="366"/>
                    </a:cubicBezTo>
                    <a:cubicBezTo>
                      <a:pt x="367" y="369"/>
                      <a:pt x="365" y="369"/>
                      <a:pt x="363" y="367"/>
                    </a:cubicBezTo>
                    <a:cubicBezTo>
                      <a:pt x="363" y="365"/>
                      <a:pt x="363" y="365"/>
                      <a:pt x="363" y="365"/>
                    </a:cubicBezTo>
                    <a:cubicBezTo>
                      <a:pt x="361" y="364"/>
                      <a:pt x="365" y="368"/>
                      <a:pt x="361" y="365"/>
                    </a:cubicBezTo>
                    <a:cubicBezTo>
                      <a:pt x="358" y="362"/>
                      <a:pt x="360" y="362"/>
                      <a:pt x="362" y="364"/>
                    </a:cubicBezTo>
                    <a:cubicBezTo>
                      <a:pt x="358" y="361"/>
                      <a:pt x="358" y="361"/>
                      <a:pt x="358" y="361"/>
                    </a:cubicBezTo>
                    <a:cubicBezTo>
                      <a:pt x="358" y="360"/>
                      <a:pt x="359" y="361"/>
                      <a:pt x="360" y="361"/>
                    </a:cubicBezTo>
                    <a:cubicBezTo>
                      <a:pt x="358" y="360"/>
                      <a:pt x="355" y="354"/>
                      <a:pt x="352" y="352"/>
                    </a:cubicBezTo>
                    <a:cubicBezTo>
                      <a:pt x="352" y="352"/>
                      <a:pt x="352" y="352"/>
                      <a:pt x="352" y="352"/>
                    </a:cubicBezTo>
                    <a:cubicBezTo>
                      <a:pt x="344" y="344"/>
                      <a:pt x="340" y="341"/>
                      <a:pt x="334" y="334"/>
                    </a:cubicBezTo>
                    <a:cubicBezTo>
                      <a:pt x="333" y="335"/>
                      <a:pt x="331" y="332"/>
                      <a:pt x="328" y="331"/>
                    </a:cubicBezTo>
                    <a:cubicBezTo>
                      <a:pt x="324" y="326"/>
                      <a:pt x="319" y="320"/>
                      <a:pt x="314" y="315"/>
                    </a:cubicBezTo>
                    <a:cubicBezTo>
                      <a:pt x="309" y="311"/>
                      <a:pt x="312" y="314"/>
                      <a:pt x="309" y="313"/>
                    </a:cubicBezTo>
                    <a:cubicBezTo>
                      <a:pt x="310" y="312"/>
                      <a:pt x="304" y="306"/>
                      <a:pt x="308" y="309"/>
                    </a:cubicBezTo>
                    <a:cubicBezTo>
                      <a:pt x="301" y="302"/>
                      <a:pt x="299" y="300"/>
                      <a:pt x="289" y="293"/>
                    </a:cubicBezTo>
                    <a:cubicBezTo>
                      <a:pt x="290" y="294"/>
                      <a:pt x="291" y="295"/>
                      <a:pt x="290" y="295"/>
                    </a:cubicBezTo>
                    <a:cubicBezTo>
                      <a:pt x="288" y="293"/>
                      <a:pt x="287" y="291"/>
                      <a:pt x="287" y="291"/>
                    </a:cubicBezTo>
                    <a:cubicBezTo>
                      <a:pt x="288" y="291"/>
                      <a:pt x="288" y="291"/>
                      <a:pt x="288" y="291"/>
                    </a:cubicBezTo>
                    <a:cubicBezTo>
                      <a:pt x="287" y="291"/>
                      <a:pt x="286" y="290"/>
                      <a:pt x="285" y="289"/>
                    </a:cubicBezTo>
                    <a:cubicBezTo>
                      <a:pt x="285" y="289"/>
                      <a:pt x="285" y="289"/>
                      <a:pt x="283" y="289"/>
                    </a:cubicBezTo>
                    <a:cubicBezTo>
                      <a:pt x="283" y="289"/>
                      <a:pt x="283" y="288"/>
                      <a:pt x="282" y="288"/>
                    </a:cubicBezTo>
                    <a:cubicBezTo>
                      <a:pt x="282" y="289"/>
                      <a:pt x="281" y="289"/>
                      <a:pt x="281" y="289"/>
                    </a:cubicBezTo>
                    <a:cubicBezTo>
                      <a:pt x="281" y="289"/>
                      <a:pt x="281" y="289"/>
                      <a:pt x="281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1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80" y="289"/>
                      <a:pt x="280" y="289"/>
                      <a:pt x="280" y="289"/>
                    </a:cubicBezTo>
                    <a:cubicBezTo>
                      <a:pt x="279" y="290"/>
                      <a:pt x="279" y="290"/>
                      <a:pt x="279" y="290"/>
                    </a:cubicBezTo>
                    <a:cubicBezTo>
                      <a:pt x="277" y="291"/>
                      <a:pt x="276" y="292"/>
                      <a:pt x="274" y="293"/>
                    </a:cubicBezTo>
                    <a:cubicBezTo>
                      <a:pt x="273" y="294"/>
                      <a:pt x="271" y="295"/>
                      <a:pt x="269" y="296"/>
                    </a:cubicBezTo>
                    <a:cubicBezTo>
                      <a:pt x="268" y="297"/>
                      <a:pt x="266" y="298"/>
                      <a:pt x="264" y="298"/>
                    </a:cubicBezTo>
                    <a:cubicBezTo>
                      <a:pt x="261" y="300"/>
                      <a:pt x="258" y="301"/>
                      <a:pt x="255" y="303"/>
                    </a:cubicBezTo>
                    <a:cubicBezTo>
                      <a:pt x="252" y="304"/>
                      <a:pt x="249" y="305"/>
                      <a:pt x="247" y="307"/>
                    </a:cubicBezTo>
                    <a:cubicBezTo>
                      <a:pt x="248" y="307"/>
                      <a:pt x="248" y="307"/>
                      <a:pt x="248" y="307"/>
                    </a:cubicBezTo>
                    <a:cubicBezTo>
                      <a:pt x="248" y="307"/>
                      <a:pt x="247" y="307"/>
                      <a:pt x="246" y="308"/>
                    </a:cubicBezTo>
                    <a:cubicBezTo>
                      <a:pt x="245" y="308"/>
                      <a:pt x="244" y="309"/>
                      <a:pt x="243" y="309"/>
                    </a:cubicBezTo>
                    <a:cubicBezTo>
                      <a:pt x="240" y="311"/>
                      <a:pt x="238" y="312"/>
                      <a:pt x="238" y="312"/>
                    </a:cubicBezTo>
                    <a:cubicBezTo>
                      <a:pt x="233" y="313"/>
                      <a:pt x="240" y="310"/>
                      <a:pt x="237" y="311"/>
                    </a:cubicBezTo>
                    <a:cubicBezTo>
                      <a:pt x="232" y="314"/>
                      <a:pt x="227" y="315"/>
                      <a:pt x="223" y="316"/>
                    </a:cubicBezTo>
                    <a:cubicBezTo>
                      <a:pt x="218" y="317"/>
                      <a:pt x="214" y="317"/>
                      <a:pt x="210" y="319"/>
                    </a:cubicBezTo>
                    <a:cubicBezTo>
                      <a:pt x="206" y="319"/>
                      <a:pt x="199" y="319"/>
                      <a:pt x="192" y="320"/>
                    </a:cubicBezTo>
                    <a:cubicBezTo>
                      <a:pt x="189" y="321"/>
                      <a:pt x="185" y="321"/>
                      <a:pt x="182" y="321"/>
                    </a:cubicBezTo>
                    <a:cubicBezTo>
                      <a:pt x="180" y="321"/>
                      <a:pt x="179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7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7" y="321"/>
                      <a:pt x="177" y="321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6" y="321"/>
                      <a:pt x="176" y="321"/>
                      <a:pt x="175" y="321"/>
                    </a:cubicBezTo>
                    <a:cubicBezTo>
                      <a:pt x="175" y="321"/>
                      <a:pt x="174" y="321"/>
                      <a:pt x="173" y="320"/>
                    </a:cubicBezTo>
                    <a:cubicBezTo>
                      <a:pt x="174" y="321"/>
                      <a:pt x="174" y="321"/>
                      <a:pt x="174" y="321"/>
                    </a:cubicBezTo>
                    <a:cubicBezTo>
                      <a:pt x="171" y="322"/>
                      <a:pt x="171" y="321"/>
                      <a:pt x="169" y="320"/>
                    </a:cubicBezTo>
                    <a:cubicBezTo>
                      <a:pt x="169" y="321"/>
                      <a:pt x="172" y="321"/>
                      <a:pt x="170" y="321"/>
                    </a:cubicBezTo>
                    <a:cubicBezTo>
                      <a:pt x="164" y="321"/>
                      <a:pt x="158" y="321"/>
                      <a:pt x="153" y="320"/>
                    </a:cubicBezTo>
                    <a:cubicBezTo>
                      <a:pt x="150" y="320"/>
                      <a:pt x="147" y="319"/>
                      <a:pt x="145" y="319"/>
                    </a:cubicBezTo>
                    <a:cubicBezTo>
                      <a:pt x="142" y="318"/>
                      <a:pt x="139" y="317"/>
                      <a:pt x="136" y="317"/>
                    </a:cubicBezTo>
                    <a:cubicBezTo>
                      <a:pt x="128" y="314"/>
                      <a:pt x="128" y="314"/>
                      <a:pt x="128" y="314"/>
                    </a:cubicBezTo>
                    <a:cubicBezTo>
                      <a:pt x="125" y="313"/>
                      <a:pt x="123" y="312"/>
                      <a:pt x="120" y="311"/>
                    </a:cubicBezTo>
                    <a:cubicBezTo>
                      <a:pt x="117" y="310"/>
                      <a:pt x="115" y="309"/>
                      <a:pt x="112" y="308"/>
                    </a:cubicBezTo>
                    <a:cubicBezTo>
                      <a:pt x="109" y="307"/>
                      <a:pt x="107" y="306"/>
                      <a:pt x="104" y="304"/>
                    </a:cubicBezTo>
                    <a:cubicBezTo>
                      <a:pt x="97" y="301"/>
                      <a:pt x="98" y="306"/>
                      <a:pt x="90" y="299"/>
                    </a:cubicBezTo>
                    <a:cubicBezTo>
                      <a:pt x="93" y="300"/>
                      <a:pt x="93" y="300"/>
                      <a:pt x="93" y="300"/>
                    </a:cubicBezTo>
                    <a:cubicBezTo>
                      <a:pt x="78" y="293"/>
                      <a:pt x="65" y="281"/>
                      <a:pt x="53" y="270"/>
                    </a:cubicBezTo>
                    <a:cubicBezTo>
                      <a:pt x="53" y="271"/>
                      <a:pt x="54" y="270"/>
                      <a:pt x="55" y="272"/>
                    </a:cubicBezTo>
                    <a:cubicBezTo>
                      <a:pt x="53" y="268"/>
                      <a:pt x="46" y="262"/>
                      <a:pt x="46" y="263"/>
                    </a:cubicBezTo>
                    <a:cubicBezTo>
                      <a:pt x="44" y="261"/>
                      <a:pt x="46" y="262"/>
                      <a:pt x="45" y="260"/>
                    </a:cubicBezTo>
                    <a:cubicBezTo>
                      <a:pt x="43" y="257"/>
                      <a:pt x="39" y="254"/>
                      <a:pt x="38" y="252"/>
                    </a:cubicBezTo>
                    <a:cubicBezTo>
                      <a:pt x="38" y="252"/>
                      <a:pt x="39" y="253"/>
                      <a:pt x="40" y="253"/>
                    </a:cubicBezTo>
                    <a:cubicBezTo>
                      <a:pt x="38" y="252"/>
                      <a:pt x="34" y="244"/>
                      <a:pt x="34" y="247"/>
                    </a:cubicBezTo>
                    <a:cubicBezTo>
                      <a:pt x="33" y="244"/>
                      <a:pt x="31" y="242"/>
                      <a:pt x="29" y="239"/>
                    </a:cubicBezTo>
                    <a:cubicBezTo>
                      <a:pt x="28" y="237"/>
                      <a:pt x="27" y="235"/>
                      <a:pt x="26" y="232"/>
                    </a:cubicBezTo>
                    <a:cubicBezTo>
                      <a:pt x="25" y="231"/>
                      <a:pt x="24" y="229"/>
                      <a:pt x="23" y="227"/>
                    </a:cubicBezTo>
                    <a:cubicBezTo>
                      <a:pt x="22" y="225"/>
                      <a:pt x="21" y="223"/>
                      <a:pt x="20" y="222"/>
                    </a:cubicBezTo>
                    <a:cubicBezTo>
                      <a:pt x="21" y="222"/>
                      <a:pt x="20" y="220"/>
                      <a:pt x="19" y="217"/>
                    </a:cubicBezTo>
                    <a:cubicBezTo>
                      <a:pt x="18" y="214"/>
                      <a:pt x="16" y="210"/>
                      <a:pt x="16" y="208"/>
                    </a:cubicBezTo>
                    <a:cubicBezTo>
                      <a:pt x="16" y="210"/>
                      <a:pt x="15" y="205"/>
                      <a:pt x="16" y="206"/>
                    </a:cubicBezTo>
                    <a:cubicBezTo>
                      <a:pt x="15" y="202"/>
                      <a:pt x="14" y="198"/>
                      <a:pt x="13" y="199"/>
                    </a:cubicBezTo>
                    <a:cubicBezTo>
                      <a:pt x="13" y="198"/>
                      <a:pt x="13" y="197"/>
                      <a:pt x="13" y="196"/>
                    </a:cubicBezTo>
                    <a:cubicBezTo>
                      <a:pt x="13" y="195"/>
                      <a:pt x="13" y="194"/>
                      <a:pt x="12" y="193"/>
                    </a:cubicBezTo>
                    <a:cubicBezTo>
                      <a:pt x="12" y="191"/>
                      <a:pt x="12" y="189"/>
                      <a:pt x="11" y="188"/>
                    </a:cubicBezTo>
                    <a:cubicBezTo>
                      <a:pt x="10" y="184"/>
                      <a:pt x="9" y="181"/>
                      <a:pt x="11" y="178"/>
                    </a:cubicBezTo>
                    <a:cubicBezTo>
                      <a:pt x="10" y="175"/>
                      <a:pt x="10" y="172"/>
                      <a:pt x="9" y="169"/>
                    </a:cubicBezTo>
                    <a:cubicBezTo>
                      <a:pt x="9" y="167"/>
                      <a:pt x="9" y="166"/>
                      <a:pt x="9" y="164"/>
                    </a:cubicBezTo>
                    <a:cubicBezTo>
                      <a:pt x="9" y="163"/>
                      <a:pt x="9" y="161"/>
                      <a:pt x="9" y="159"/>
                    </a:cubicBezTo>
                    <a:cubicBezTo>
                      <a:pt x="9" y="156"/>
                      <a:pt x="9" y="153"/>
                      <a:pt x="9" y="150"/>
                    </a:cubicBezTo>
                    <a:cubicBezTo>
                      <a:pt x="9" y="147"/>
                      <a:pt x="10" y="144"/>
                      <a:pt x="10" y="141"/>
                    </a:cubicBezTo>
                    <a:cubicBezTo>
                      <a:pt x="11" y="141"/>
                      <a:pt x="10" y="145"/>
                      <a:pt x="10" y="148"/>
                    </a:cubicBezTo>
                    <a:cubicBezTo>
                      <a:pt x="10" y="151"/>
                      <a:pt x="9" y="154"/>
                      <a:pt x="10" y="154"/>
                    </a:cubicBezTo>
                    <a:cubicBezTo>
                      <a:pt x="10" y="148"/>
                      <a:pt x="11" y="144"/>
                      <a:pt x="11" y="139"/>
                    </a:cubicBezTo>
                    <a:cubicBezTo>
                      <a:pt x="11" y="137"/>
                      <a:pt x="11" y="135"/>
                      <a:pt x="11" y="133"/>
                    </a:cubicBezTo>
                    <a:cubicBezTo>
                      <a:pt x="12" y="130"/>
                      <a:pt x="13" y="128"/>
                      <a:pt x="13" y="125"/>
                    </a:cubicBezTo>
                    <a:cubicBezTo>
                      <a:pt x="14" y="123"/>
                      <a:pt x="14" y="127"/>
                      <a:pt x="14" y="128"/>
                    </a:cubicBezTo>
                    <a:cubicBezTo>
                      <a:pt x="15" y="123"/>
                      <a:pt x="16" y="117"/>
                      <a:pt x="18" y="112"/>
                    </a:cubicBezTo>
                    <a:cubicBezTo>
                      <a:pt x="20" y="108"/>
                      <a:pt x="22" y="103"/>
                      <a:pt x="24" y="98"/>
                    </a:cubicBezTo>
                    <a:cubicBezTo>
                      <a:pt x="24" y="98"/>
                      <a:pt x="24" y="99"/>
                      <a:pt x="23" y="100"/>
                    </a:cubicBezTo>
                    <a:cubicBezTo>
                      <a:pt x="24" y="98"/>
                      <a:pt x="26" y="96"/>
                      <a:pt x="25" y="96"/>
                    </a:cubicBezTo>
                    <a:cubicBezTo>
                      <a:pt x="24" y="98"/>
                      <a:pt x="24" y="98"/>
                      <a:pt x="24" y="98"/>
                    </a:cubicBezTo>
                    <a:cubicBezTo>
                      <a:pt x="22" y="100"/>
                      <a:pt x="26" y="90"/>
                      <a:pt x="25" y="89"/>
                    </a:cubicBezTo>
                    <a:cubicBezTo>
                      <a:pt x="25" y="91"/>
                      <a:pt x="27" y="89"/>
                      <a:pt x="28" y="87"/>
                    </a:cubicBezTo>
                    <a:cubicBezTo>
                      <a:pt x="29" y="85"/>
                      <a:pt x="31" y="84"/>
                      <a:pt x="31" y="87"/>
                    </a:cubicBezTo>
                    <a:cubicBezTo>
                      <a:pt x="31" y="86"/>
                      <a:pt x="32" y="84"/>
                      <a:pt x="31" y="84"/>
                    </a:cubicBezTo>
                    <a:cubicBezTo>
                      <a:pt x="32" y="83"/>
                      <a:pt x="33" y="82"/>
                      <a:pt x="32" y="84"/>
                    </a:cubicBezTo>
                    <a:cubicBezTo>
                      <a:pt x="36" y="78"/>
                      <a:pt x="34" y="80"/>
                      <a:pt x="37" y="74"/>
                    </a:cubicBezTo>
                    <a:cubicBezTo>
                      <a:pt x="38" y="75"/>
                      <a:pt x="37" y="76"/>
                      <a:pt x="37" y="76"/>
                    </a:cubicBezTo>
                    <a:cubicBezTo>
                      <a:pt x="38" y="73"/>
                      <a:pt x="40" y="70"/>
                      <a:pt x="43" y="66"/>
                    </a:cubicBezTo>
                    <a:cubicBezTo>
                      <a:pt x="43" y="67"/>
                      <a:pt x="44" y="66"/>
                      <a:pt x="43" y="68"/>
                    </a:cubicBezTo>
                    <a:cubicBezTo>
                      <a:pt x="46" y="64"/>
                      <a:pt x="48" y="61"/>
                      <a:pt x="51" y="58"/>
                    </a:cubicBezTo>
                    <a:cubicBezTo>
                      <a:pt x="53" y="54"/>
                      <a:pt x="56" y="51"/>
                      <a:pt x="60" y="48"/>
                    </a:cubicBezTo>
                    <a:cubicBezTo>
                      <a:pt x="59" y="51"/>
                      <a:pt x="63" y="46"/>
                      <a:pt x="65" y="47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7" y="43"/>
                      <a:pt x="68" y="42"/>
                      <a:pt x="69" y="41"/>
                    </a:cubicBezTo>
                    <a:cubicBezTo>
                      <a:pt x="70" y="41"/>
                      <a:pt x="71" y="40"/>
                      <a:pt x="72" y="39"/>
                    </a:cubicBezTo>
                    <a:cubicBezTo>
                      <a:pt x="73" y="38"/>
                      <a:pt x="75" y="36"/>
                      <a:pt x="77" y="35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77" y="35"/>
                      <a:pt x="77" y="35"/>
                      <a:pt x="77" y="35"/>
                    </a:cubicBezTo>
                    <a:cubicBezTo>
                      <a:pt x="81" y="32"/>
                      <a:pt x="75" y="34"/>
                      <a:pt x="81" y="30"/>
                    </a:cubicBezTo>
                    <a:cubicBezTo>
                      <a:pt x="80" y="31"/>
                      <a:pt x="85" y="28"/>
                      <a:pt x="88" y="27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0" y="26"/>
                      <a:pt x="92" y="24"/>
                      <a:pt x="95" y="23"/>
                    </a:cubicBezTo>
                    <a:cubicBezTo>
                      <a:pt x="96" y="23"/>
                      <a:pt x="95" y="24"/>
                      <a:pt x="96" y="24"/>
                    </a:cubicBezTo>
                    <a:cubicBezTo>
                      <a:pt x="97" y="22"/>
                      <a:pt x="106" y="19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10" y="17"/>
                      <a:pt x="110" y="17"/>
                      <a:pt x="110" y="17"/>
                    </a:cubicBezTo>
                    <a:cubicBezTo>
                      <a:pt x="112" y="16"/>
                      <a:pt x="112" y="16"/>
                      <a:pt x="112" y="17"/>
                    </a:cubicBezTo>
                    <a:cubicBezTo>
                      <a:pt x="119" y="15"/>
                      <a:pt x="109" y="16"/>
                      <a:pt x="117" y="14"/>
                    </a:cubicBezTo>
                    <a:cubicBezTo>
                      <a:pt x="117" y="14"/>
                      <a:pt x="117" y="14"/>
                      <a:pt x="116" y="15"/>
                    </a:cubicBezTo>
                    <a:cubicBezTo>
                      <a:pt x="120" y="14"/>
                      <a:pt x="123" y="12"/>
                      <a:pt x="127" y="11"/>
                    </a:cubicBezTo>
                    <a:cubicBezTo>
                      <a:pt x="131" y="10"/>
                      <a:pt x="134" y="9"/>
                      <a:pt x="138" y="8"/>
                    </a:cubicBezTo>
                    <a:cubicBezTo>
                      <a:pt x="140" y="9"/>
                      <a:pt x="132" y="10"/>
                      <a:pt x="134" y="11"/>
                    </a:cubicBezTo>
                    <a:cubicBezTo>
                      <a:pt x="137" y="10"/>
                      <a:pt x="140" y="9"/>
                      <a:pt x="142" y="9"/>
                    </a:cubicBezTo>
                    <a:cubicBezTo>
                      <a:pt x="145" y="8"/>
                      <a:pt x="148" y="7"/>
                      <a:pt x="150" y="7"/>
                    </a:cubicBezTo>
                    <a:cubicBezTo>
                      <a:pt x="153" y="6"/>
                      <a:pt x="156" y="6"/>
                      <a:pt x="158" y="5"/>
                    </a:cubicBezTo>
                    <a:cubicBezTo>
                      <a:pt x="161" y="5"/>
                      <a:pt x="164" y="5"/>
                      <a:pt x="166" y="5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6" y="3"/>
                      <a:pt x="172" y="5"/>
                      <a:pt x="177" y="4"/>
                    </a:cubicBezTo>
                    <a:cubicBezTo>
                      <a:pt x="177" y="4"/>
                      <a:pt x="177" y="4"/>
                      <a:pt x="176" y="4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79" y="5"/>
                      <a:pt x="183" y="5"/>
                      <a:pt x="187" y="5"/>
                    </a:cubicBezTo>
                    <a:cubicBezTo>
                      <a:pt x="189" y="5"/>
                      <a:pt x="192" y="5"/>
                      <a:pt x="194" y="5"/>
                    </a:cubicBezTo>
                    <a:cubicBezTo>
                      <a:pt x="196" y="5"/>
                      <a:pt x="199" y="6"/>
                      <a:pt x="201" y="6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4" y="7"/>
                      <a:pt x="211" y="8"/>
                      <a:pt x="215" y="9"/>
                    </a:cubicBezTo>
                    <a:cubicBezTo>
                      <a:pt x="216" y="9"/>
                      <a:pt x="219" y="10"/>
                      <a:pt x="218" y="9"/>
                    </a:cubicBezTo>
                    <a:cubicBezTo>
                      <a:pt x="221" y="10"/>
                      <a:pt x="224" y="11"/>
                      <a:pt x="227" y="12"/>
                    </a:cubicBezTo>
                    <a:cubicBezTo>
                      <a:pt x="230" y="13"/>
                      <a:pt x="234" y="14"/>
                      <a:pt x="237" y="15"/>
                    </a:cubicBezTo>
                    <a:cubicBezTo>
                      <a:pt x="243" y="16"/>
                      <a:pt x="249" y="19"/>
                      <a:pt x="254" y="22"/>
                    </a:cubicBezTo>
                    <a:cubicBezTo>
                      <a:pt x="253" y="22"/>
                      <a:pt x="251" y="21"/>
                      <a:pt x="252" y="22"/>
                    </a:cubicBezTo>
                    <a:cubicBezTo>
                      <a:pt x="252" y="22"/>
                      <a:pt x="254" y="23"/>
                      <a:pt x="257" y="24"/>
                    </a:cubicBezTo>
                    <a:cubicBezTo>
                      <a:pt x="259" y="25"/>
                      <a:pt x="261" y="26"/>
                      <a:pt x="261" y="26"/>
                    </a:cubicBezTo>
                    <a:cubicBezTo>
                      <a:pt x="261" y="25"/>
                      <a:pt x="260" y="25"/>
                      <a:pt x="259" y="23"/>
                    </a:cubicBezTo>
                    <a:cubicBezTo>
                      <a:pt x="260" y="23"/>
                      <a:pt x="263" y="25"/>
                      <a:pt x="265" y="26"/>
                    </a:cubicBezTo>
                    <a:cubicBezTo>
                      <a:pt x="261" y="24"/>
                      <a:pt x="265" y="27"/>
                      <a:pt x="266" y="29"/>
                    </a:cubicBezTo>
                    <a:cubicBezTo>
                      <a:pt x="266" y="28"/>
                      <a:pt x="267" y="28"/>
                      <a:pt x="267" y="28"/>
                    </a:cubicBezTo>
                    <a:cubicBezTo>
                      <a:pt x="271" y="32"/>
                      <a:pt x="269" y="27"/>
                      <a:pt x="274" y="32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6" y="33"/>
                      <a:pt x="279" y="34"/>
                      <a:pt x="281" y="36"/>
                    </a:cubicBezTo>
                    <a:cubicBezTo>
                      <a:pt x="282" y="38"/>
                      <a:pt x="278" y="35"/>
                      <a:pt x="278" y="36"/>
                    </a:cubicBezTo>
                    <a:cubicBezTo>
                      <a:pt x="281" y="38"/>
                      <a:pt x="286" y="39"/>
                      <a:pt x="288" y="42"/>
                    </a:cubicBezTo>
                    <a:cubicBezTo>
                      <a:pt x="287" y="41"/>
                      <a:pt x="285" y="39"/>
                      <a:pt x="283" y="39"/>
                    </a:cubicBezTo>
                    <a:cubicBezTo>
                      <a:pt x="286" y="42"/>
                      <a:pt x="286" y="42"/>
                      <a:pt x="288" y="45"/>
                    </a:cubicBezTo>
                    <a:cubicBezTo>
                      <a:pt x="288" y="44"/>
                      <a:pt x="288" y="44"/>
                      <a:pt x="288" y="44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2" y="48"/>
                      <a:pt x="292" y="48"/>
                      <a:pt x="292" y="48"/>
                    </a:cubicBezTo>
                    <a:cubicBezTo>
                      <a:pt x="298" y="49"/>
                      <a:pt x="300" y="55"/>
                      <a:pt x="307" y="59"/>
                    </a:cubicBezTo>
                    <a:cubicBezTo>
                      <a:pt x="300" y="55"/>
                      <a:pt x="305" y="59"/>
                      <a:pt x="304" y="59"/>
                    </a:cubicBezTo>
                    <a:cubicBezTo>
                      <a:pt x="305" y="61"/>
                      <a:pt x="306" y="63"/>
                      <a:pt x="306" y="63"/>
                    </a:cubicBezTo>
                    <a:cubicBezTo>
                      <a:pt x="309" y="65"/>
                      <a:pt x="309" y="68"/>
                      <a:pt x="313" y="70"/>
                    </a:cubicBezTo>
                    <a:cubicBezTo>
                      <a:pt x="313" y="71"/>
                      <a:pt x="315" y="73"/>
                      <a:pt x="314" y="73"/>
                    </a:cubicBezTo>
                    <a:cubicBezTo>
                      <a:pt x="317" y="76"/>
                      <a:pt x="314" y="72"/>
                      <a:pt x="314" y="72"/>
                    </a:cubicBezTo>
                    <a:cubicBezTo>
                      <a:pt x="317" y="74"/>
                      <a:pt x="319" y="78"/>
                      <a:pt x="321" y="82"/>
                    </a:cubicBezTo>
                    <a:cubicBezTo>
                      <a:pt x="322" y="84"/>
                      <a:pt x="323" y="85"/>
                      <a:pt x="324" y="87"/>
                    </a:cubicBezTo>
                    <a:cubicBezTo>
                      <a:pt x="325" y="89"/>
                      <a:pt x="327" y="92"/>
                      <a:pt x="328" y="93"/>
                    </a:cubicBezTo>
                    <a:cubicBezTo>
                      <a:pt x="330" y="97"/>
                      <a:pt x="332" y="99"/>
                      <a:pt x="334" y="101"/>
                    </a:cubicBezTo>
                    <a:cubicBezTo>
                      <a:pt x="335" y="103"/>
                      <a:pt x="336" y="105"/>
                      <a:pt x="338" y="109"/>
                    </a:cubicBezTo>
                    <a:cubicBezTo>
                      <a:pt x="338" y="111"/>
                      <a:pt x="336" y="107"/>
                      <a:pt x="336" y="107"/>
                    </a:cubicBezTo>
                    <a:cubicBezTo>
                      <a:pt x="337" y="111"/>
                      <a:pt x="338" y="114"/>
                      <a:pt x="340" y="118"/>
                    </a:cubicBezTo>
                    <a:cubicBezTo>
                      <a:pt x="339" y="117"/>
                      <a:pt x="339" y="118"/>
                      <a:pt x="339" y="119"/>
                    </a:cubicBezTo>
                    <a:cubicBezTo>
                      <a:pt x="340" y="123"/>
                      <a:pt x="341" y="121"/>
                      <a:pt x="342" y="125"/>
                    </a:cubicBezTo>
                    <a:cubicBezTo>
                      <a:pt x="341" y="125"/>
                      <a:pt x="340" y="124"/>
                      <a:pt x="339" y="123"/>
                    </a:cubicBezTo>
                    <a:cubicBezTo>
                      <a:pt x="341" y="126"/>
                      <a:pt x="343" y="130"/>
                      <a:pt x="344" y="133"/>
                    </a:cubicBezTo>
                    <a:cubicBezTo>
                      <a:pt x="343" y="135"/>
                      <a:pt x="342" y="131"/>
                      <a:pt x="341" y="130"/>
                    </a:cubicBezTo>
                    <a:cubicBezTo>
                      <a:pt x="342" y="132"/>
                      <a:pt x="343" y="135"/>
                      <a:pt x="343" y="137"/>
                    </a:cubicBezTo>
                    <a:cubicBezTo>
                      <a:pt x="344" y="140"/>
                      <a:pt x="345" y="142"/>
                      <a:pt x="345" y="142"/>
                    </a:cubicBezTo>
                    <a:cubicBezTo>
                      <a:pt x="345" y="139"/>
                      <a:pt x="345" y="139"/>
                      <a:pt x="345" y="139"/>
                    </a:cubicBezTo>
                    <a:cubicBezTo>
                      <a:pt x="346" y="141"/>
                      <a:pt x="344" y="140"/>
                      <a:pt x="344" y="139"/>
                    </a:cubicBezTo>
                    <a:cubicBezTo>
                      <a:pt x="343" y="136"/>
                      <a:pt x="344" y="134"/>
                      <a:pt x="344" y="134"/>
                    </a:cubicBezTo>
                    <a:cubicBezTo>
                      <a:pt x="345" y="136"/>
                      <a:pt x="345" y="136"/>
                      <a:pt x="345" y="136"/>
                    </a:cubicBezTo>
                    <a:cubicBezTo>
                      <a:pt x="347" y="133"/>
                      <a:pt x="342" y="125"/>
                      <a:pt x="340" y="120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40" y="116"/>
                      <a:pt x="340" y="116"/>
                      <a:pt x="340" y="116"/>
                    </a:cubicBezTo>
                    <a:cubicBezTo>
                      <a:pt x="340" y="115"/>
                      <a:pt x="340" y="114"/>
                      <a:pt x="341" y="117"/>
                    </a:cubicBezTo>
                    <a:cubicBezTo>
                      <a:pt x="341" y="113"/>
                      <a:pt x="340" y="113"/>
                      <a:pt x="339" y="110"/>
                    </a:cubicBezTo>
                    <a:cubicBezTo>
                      <a:pt x="339" y="109"/>
                      <a:pt x="339" y="110"/>
                      <a:pt x="340" y="110"/>
                    </a:cubicBezTo>
                    <a:cubicBezTo>
                      <a:pt x="338" y="106"/>
                      <a:pt x="338" y="106"/>
                      <a:pt x="338" y="106"/>
                    </a:cubicBezTo>
                    <a:cubicBezTo>
                      <a:pt x="338" y="107"/>
                      <a:pt x="338" y="105"/>
                      <a:pt x="339" y="108"/>
                    </a:cubicBezTo>
                    <a:cubicBezTo>
                      <a:pt x="338" y="104"/>
                      <a:pt x="337" y="101"/>
                      <a:pt x="336" y="99"/>
                    </a:cubicBezTo>
                    <a:cubicBezTo>
                      <a:pt x="334" y="97"/>
                      <a:pt x="333" y="96"/>
                      <a:pt x="333" y="94"/>
                    </a:cubicBezTo>
                    <a:cubicBezTo>
                      <a:pt x="334" y="95"/>
                      <a:pt x="334" y="95"/>
                      <a:pt x="334" y="95"/>
                    </a:cubicBezTo>
                    <a:cubicBezTo>
                      <a:pt x="329" y="86"/>
                      <a:pt x="332" y="95"/>
                      <a:pt x="327" y="89"/>
                    </a:cubicBezTo>
                    <a:cubicBezTo>
                      <a:pt x="328" y="89"/>
                      <a:pt x="327" y="83"/>
                      <a:pt x="327" y="83"/>
                    </a:cubicBezTo>
                    <a:cubicBezTo>
                      <a:pt x="326" y="83"/>
                      <a:pt x="326" y="83"/>
                      <a:pt x="326" y="83"/>
                    </a:cubicBezTo>
                    <a:cubicBezTo>
                      <a:pt x="325" y="82"/>
                      <a:pt x="324" y="80"/>
                      <a:pt x="325" y="80"/>
                    </a:cubicBezTo>
                    <a:cubicBezTo>
                      <a:pt x="322" y="77"/>
                      <a:pt x="325" y="81"/>
                      <a:pt x="323" y="79"/>
                    </a:cubicBezTo>
                    <a:cubicBezTo>
                      <a:pt x="322" y="77"/>
                      <a:pt x="320" y="74"/>
                      <a:pt x="318" y="72"/>
                    </a:cubicBezTo>
                    <a:cubicBezTo>
                      <a:pt x="317" y="70"/>
                      <a:pt x="315" y="68"/>
                      <a:pt x="315" y="67"/>
                    </a:cubicBezTo>
                    <a:cubicBezTo>
                      <a:pt x="314" y="66"/>
                      <a:pt x="318" y="71"/>
                      <a:pt x="314" y="67"/>
                    </a:cubicBezTo>
                    <a:cubicBezTo>
                      <a:pt x="314" y="66"/>
                      <a:pt x="313" y="65"/>
                      <a:pt x="312" y="63"/>
                    </a:cubicBezTo>
                    <a:cubicBezTo>
                      <a:pt x="311" y="62"/>
                      <a:pt x="309" y="60"/>
                      <a:pt x="308" y="58"/>
                    </a:cubicBezTo>
                    <a:cubicBezTo>
                      <a:pt x="309" y="59"/>
                      <a:pt x="312" y="62"/>
                      <a:pt x="310" y="58"/>
                    </a:cubicBezTo>
                    <a:cubicBezTo>
                      <a:pt x="306" y="58"/>
                      <a:pt x="304" y="52"/>
                      <a:pt x="301" y="49"/>
                    </a:cubicBezTo>
                    <a:cubicBezTo>
                      <a:pt x="300" y="50"/>
                      <a:pt x="294" y="44"/>
                      <a:pt x="289" y="40"/>
                    </a:cubicBezTo>
                    <a:cubicBezTo>
                      <a:pt x="290" y="40"/>
                      <a:pt x="280" y="32"/>
                      <a:pt x="275" y="28"/>
                    </a:cubicBezTo>
                    <a:cubicBezTo>
                      <a:pt x="275" y="28"/>
                      <a:pt x="275" y="28"/>
                      <a:pt x="275" y="28"/>
                    </a:cubicBezTo>
                    <a:cubicBezTo>
                      <a:pt x="273" y="29"/>
                      <a:pt x="268" y="26"/>
                      <a:pt x="264" y="24"/>
                    </a:cubicBezTo>
                    <a:cubicBezTo>
                      <a:pt x="265" y="23"/>
                      <a:pt x="266" y="23"/>
                      <a:pt x="268" y="24"/>
                    </a:cubicBezTo>
                    <a:cubicBezTo>
                      <a:pt x="264" y="22"/>
                      <a:pt x="264" y="22"/>
                      <a:pt x="264" y="22"/>
                    </a:cubicBezTo>
                    <a:cubicBezTo>
                      <a:pt x="263" y="22"/>
                      <a:pt x="262" y="21"/>
                      <a:pt x="259" y="20"/>
                    </a:cubicBezTo>
                    <a:cubicBezTo>
                      <a:pt x="261" y="20"/>
                      <a:pt x="261" y="20"/>
                      <a:pt x="261" y="20"/>
                    </a:cubicBezTo>
                    <a:cubicBezTo>
                      <a:pt x="256" y="17"/>
                      <a:pt x="250" y="16"/>
                      <a:pt x="244" y="12"/>
                    </a:cubicBezTo>
                    <a:cubicBezTo>
                      <a:pt x="243" y="13"/>
                      <a:pt x="244" y="14"/>
                      <a:pt x="244" y="15"/>
                    </a:cubicBezTo>
                    <a:cubicBezTo>
                      <a:pt x="245" y="16"/>
                      <a:pt x="244" y="16"/>
                      <a:pt x="240" y="15"/>
                    </a:cubicBezTo>
                    <a:cubicBezTo>
                      <a:pt x="240" y="14"/>
                      <a:pt x="240" y="13"/>
                      <a:pt x="242" y="14"/>
                    </a:cubicBezTo>
                    <a:cubicBezTo>
                      <a:pt x="242" y="14"/>
                      <a:pt x="240" y="13"/>
                      <a:pt x="239" y="13"/>
                    </a:cubicBezTo>
                    <a:cubicBezTo>
                      <a:pt x="242" y="13"/>
                      <a:pt x="242" y="13"/>
                      <a:pt x="242" y="13"/>
                    </a:cubicBezTo>
                    <a:cubicBezTo>
                      <a:pt x="239" y="11"/>
                      <a:pt x="240" y="13"/>
                      <a:pt x="238" y="12"/>
                    </a:cubicBezTo>
                    <a:cubicBezTo>
                      <a:pt x="238" y="11"/>
                      <a:pt x="236" y="11"/>
                      <a:pt x="237" y="11"/>
                    </a:cubicBezTo>
                    <a:cubicBezTo>
                      <a:pt x="237" y="11"/>
                      <a:pt x="239" y="12"/>
                      <a:pt x="240" y="12"/>
                    </a:cubicBezTo>
                    <a:cubicBezTo>
                      <a:pt x="237" y="11"/>
                      <a:pt x="234" y="9"/>
                      <a:pt x="233" y="8"/>
                    </a:cubicBezTo>
                    <a:cubicBezTo>
                      <a:pt x="233" y="8"/>
                      <a:pt x="232" y="9"/>
                      <a:pt x="230" y="8"/>
                    </a:cubicBezTo>
                    <a:cubicBezTo>
                      <a:pt x="225" y="7"/>
                      <a:pt x="229" y="7"/>
                      <a:pt x="226" y="6"/>
                    </a:cubicBezTo>
                    <a:cubicBezTo>
                      <a:pt x="224" y="6"/>
                      <a:pt x="221" y="4"/>
                      <a:pt x="220" y="6"/>
                    </a:cubicBezTo>
                    <a:cubicBezTo>
                      <a:pt x="219" y="5"/>
                      <a:pt x="219" y="5"/>
                      <a:pt x="218" y="4"/>
                    </a:cubicBezTo>
                    <a:cubicBezTo>
                      <a:pt x="217" y="4"/>
                      <a:pt x="213" y="3"/>
                      <a:pt x="211" y="3"/>
                    </a:cubicBezTo>
                    <a:cubicBezTo>
                      <a:pt x="208" y="3"/>
                      <a:pt x="206" y="2"/>
                      <a:pt x="208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8" y="4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8" y="3"/>
                      <a:pt x="208" y="3"/>
                      <a:pt x="208" y="3"/>
                    </a:cubicBezTo>
                    <a:cubicBezTo>
                      <a:pt x="203" y="3"/>
                      <a:pt x="198" y="2"/>
                      <a:pt x="193" y="2"/>
                    </a:cubicBezTo>
                    <a:cubicBezTo>
                      <a:pt x="188" y="1"/>
                      <a:pt x="184" y="1"/>
                      <a:pt x="179" y="1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73" y="1"/>
                      <a:pt x="166" y="1"/>
                      <a:pt x="162" y="2"/>
                    </a:cubicBezTo>
                    <a:cubicBezTo>
                      <a:pt x="161" y="2"/>
                      <a:pt x="158" y="1"/>
                      <a:pt x="159" y="1"/>
                    </a:cubicBezTo>
                    <a:cubicBezTo>
                      <a:pt x="155" y="2"/>
                      <a:pt x="154" y="2"/>
                      <a:pt x="148" y="3"/>
                    </a:cubicBezTo>
                    <a:cubicBezTo>
                      <a:pt x="152" y="1"/>
                      <a:pt x="146" y="2"/>
                      <a:pt x="152" y="1"/>
                    </a:cubicBezTo>
                    <a:cubicBezTo>
                      <a:pt x="147" y="2"/>
                      <a:pt x="145" y="1"/>
                      <a:pt x="139" y="4"/>
                    </a:cubicBezTo>
                    <a:cubicBezTo>
                      <a:pt x="141" y="2"/>
                      <a:pt x="135" y="3"/>
                      <a:pt x="132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4" y="5"/>
                      <a:pt x="131" y="5"/>
                      <a:pt x="128" y="6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23" y="5"/>
                      <a:pt x="119" y="7"/>
                      <a:pt x="114" y="9"/>
                    </a:cubicBezTo>
                    <a:cubicBezTo>
                      <a:pt x="112" y="11"/>
                      <a:pt x="110" y="11"/>
                      <a:pt x="108" y="12"/>
                    </a:cubicBezTo>
                    <a:cubicBezTo>
                      <a:pt x="106" y="13"/>
                      <a:pt x="103" y="14"/>
                      <a:pt x="101" y="14"/>
                    </a:cubicBezTo>
                    <a:cubicBezTo>
                      <a:pt x="99" y="16"/>
                      <a:pt x="107" y="12"/>
                      <a:pt x="105" y="14"/>
                    </a:cubicBezTo>
                    <a:cubicBezTo>
                      <a:pt x="100" y="16"/>
                      <a:pt x="94" y="17"/>
                      <a:pt x="93" y="18"/>
                    </a:cubicBezTo>
                    <a:cubicBezTo>
                      <a:pt x="86" y="21"/>
                      <a:pt x="88" y="23"/>
                      <a:pt x="81" y="26"/>
                    </a:cubicBezTo>
                    <a:cubicBezTo>
                      <a:pt x="82" y="26"/>
                      <a:pt x="83" y="27"/>
                      <a:pt x="79" y="30"/>
                    </a:cubicBezTo>
                    <a:cubicBezTo>
                      <a:pt x="74" y="33"/>
                      <a:pt x="72" y="32"/>
                      <a:pt x="75" y="30"/>
                    </a:cubicBezTo>
                    <a:cubicBezTo>
                      <a:pt x="76" y="29"/>
                      <a:pt x="76" y="29"/>
                      <a:pt x="77" y="29"/>
                    </a:cubicBezTo>
                    <a:cubicBezTo>
                      <a:pt x="78" y="28"/>
                      <a:pt x="80" y="26"/>
                      <a:pt x="78" y="27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5" y="29"/>
                      <a:pt x="69" y="33"/>
                      <a:pt x="70" y="32"/>
                    </a:cubicBezTo>
                    <a:cubicBezTo>
                      <a:pt x="67" y="35"/>
                      <a:pt x="69" y="33"/>
                      <a:pt x="71" y="32"/>
                    </a:cubicBezTo>
                    <a:cubicBezTo>
                      <a:pt x="68" y="34"/>
                      <a:pt x="66" y="35"/>
                      <a:pt x="64" y="37"/>
                    </a:cubicBezTo>
                    <a:cubicBezTo>
                      <a:pt x="62" y="39"/>
                      <a:pt x="60" y="40"/>
                      <a:pt x="57" y="43"/>
                    </a:cubicBezTo>
                    <a:cubicBezTo>
                      <a:pt x="58" y="42"/>
                      <a:pt x="59" y="42"/>
                      <a:pt x="58" y="42"/>
                    </a:cubicBezTo>
                    <a:cubicBezTo>
                      <a:pt x="50" y="49"/>
                      <a:pt x="55" y="46"/>
                      <a:pt x="51" y="51"/>
                    </a:cubicBezTo>
                    <a:cubicBezTo>
                      <a:pt x="47" y="53"/>
                      <a:pt x="50" y="49"/>
                      <a:pt x="46" y="54"/>
                    </a:cubicBezTo>
                    <a:cubicBezTo>
                      <a:pt x="43" y="57"/>
                      <a:pt x="44" y="54"/>
                      <a:pt x="45" y="53"/>
                    </a:cubicBezTo>
                    <a:cubicBezTo>
                      <a:pt x="43" y="55"/>
                      <a:pt x="41" y="57"/>
                      <a:pt x="39" y="59"/>
                    </a:cubicBezTo>
                    <a:cubicBezTo>
                      <a:pt x="37" y="61"/>
                      <a:pt x="36" y="63"/>
                      <a:pt x="34" y="64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5" y="63"/>
                      <a:pt x="34" y="64"/>
                      <a:pt x="33" y="66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4" y="66"/>
                      <a:pt x="32" y="67"/>
                      <a:pt x="32" y="67"/>
                    </a:cubicBezTo>
                    <a:cubicBezTo>
                      <a:pt x="31" y="69"/>
                      <a:pt x="34" y="67"/>
                      <a:pt x="33" y="71"/>
                    </a:cubicBezTo>
                    <a:cubicBezTo>
                      <a:pt x="30" y="72"/>
                      <a:pt x="29" y="78"/>
                      <a:pt x="27" y="78"/>
                    </a:cubicBezTo>
                    <a:cubicBezTo>
                      <a:pt x="32" y="71"/>
                      <a:pt x="25" y="78"/>
                      <a:pt x="29" y="72"/>
                    </a:cubicBezTo>
                    <a:cubicBezTo>
                      <a:pt x="28" y="73"/>
                      <a:pt x="28" y="74"/>
                      <a:pt x="26" y="76"/>
                    </a:cubicBezTo>
                    <a:cubicBezTo>
                      <a:pt x="26" y="76"/>
                      <a:pt x="26" y="76"/>
                      <a:pt x="26" y="75"/>
                    </a:cubicBezTo>
                    <a:cubicBezTo>
                      <a:pt x="21" y="81"/>
                      <a:pt x="26" y="79"/>
                      <a:pt x="21" y="86"/>
                    </a:cubicBezTo>
                    <a:cubicBezTo>
                      <a:pt x="21" y="85"/>
                      <a:pt x="19" y="87"/>
                      <a:pt x="19" y="88"/>
                    </a:cubicBezTo>
                    <a:cubicBezTo>
                      <a:pt x="20" y="85"/>
                      <a:pt x="20" y="88"/>
                      <a:pt x="19" y="90"/>
                    </a:cubicBezTo>
                    <a:cubicBezTo>
                      <a:pt x="17" y="95"/>
                      <a:pt x="17" y="96"/>
                      <a:pt x="16" y="98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8" y="97"/>
                      <a:pt x="16" y="99"/>
                      <a:pt x="15" y="103"/>
                    </a:cubicBezTo>
                    <a:cubicBezTo>
                      <a:pt x="15" y="103"/>
                      <a:pt x="16" y="99"/>
                      <a:pt x="15" y="100"/>
                    </a:cubicBezTo>
                    <a:cubicBezTo>
                      <a:pt x="15" y="105"/>
                      <a:pt x="11" y="109"/>
                      <a:pt x="9" y="114"/>
                    </a:cubicBezTo>
                    <a:cubicBezTo>
                      <a:pt x="8" y="117"/>
                      <a:pt x="8" y="114"/>
                      <a:pt x="7" y="116"/>
                    </a:cubicBezTo>
                    <a:cubicBezTo>
                      <a:pt x="6" y="123"/>
                      <a:pt x="4" y="123"/>
                      <a:pt x="3" y="130"/>
                    </a:cubicBezTo>
                    <a:cubicBezTo>
                      <a:pt x="5" y="128"/>
                      <a:pt x="4" y="128"/>
                      <a:pt x="4" y="132"/>
                    </a:cubicBezTo>
                    <a:cubicBezTo>
                      <a:pt x="4" y="132"/>
                      <a:pt x="4" y="132"/>
                      <a:pt x="5" y="131"/>
                    </a:cubicBezTo>
                    <a:cubicBezTo>
                      <a:pt x="5" y="130"/>
                      <a:pt x="5" y="128"/>
                      <a:pt x="5" y="127"/>
                    </a:cubicBezTo>
                    <a:cubicBezTo>
                      <a:pt x="6" y="124"/>
                      <a:pt x="7" y="121"/>
                      <a:pt x="7" y="121"/>
                    </a:cubicBezTo>
                    <a:cubicBezTo>
                      <a:pt x="6" y="129"/>
                      <a:pt x="6" y="129"/>
                      <a:pt x="6" y="129"/>
                    </a:cubicBezTo>
                    <a:cubicBezTo>
                      <a:pt x="7" y="126"/>
                      <a:pt x="7" y="122"/>
                      <a:pt x="8" y="120"/>
                    </a:cubicBezTo>
                    <a:cubicBezTo>
                      <a:pt x="8" y="123"/>
                      <a:pt x="8" y="123"/>
                      <a:pt x="9" y="122"/>
                    </a:cubicBezTo>
                    <a:cubicBezTo>
                      <a:pt x="8" y="124"/>
                      <a:pt x="7" y="126"/>
                      <a:pt x="7" y="128"/>
                    </a:cubicBezTo>
                    <a:cubicBezTo>
                      <a:pt x="7" y="129"/>
                      <a:pt x="6" y="131"/>
                      <a:pt x="6" y="132"/>
                    </a:cubicBezTo>
                    <a:cubicBezTo>
                      <a:pt x="6" y="133"/>
                      <a:pt x="6" y="134"/>
                      <a:pt x="5" y="135"/>
                    </a:cubicBezTo>
                    <a:cubicBezTo>
                      <a:pt x="3" y="135"/>
                      <a:pt x="3" y="135"/>
                      <a:pt x="3" y="135"/>
                    </a:cubicBezTo>
                    <a:cubicBezTo>
                      <a:pt x="2" y="139"/>
                      <a:pt x="2" y="143"/>
                      <a:pt x="1" y="146"/>
                    </a:cubicBezTo>
                    <a:cubicBezTo>
                      <a:pt x="1" y="150"/>
                      <a:pt x="2" y="154"/>
                      <a:pt x="1" y="159"/>
                    </a:cubicBezTo>
                    <a:cubicBezTo>
                      <a:pt x="2" y="156"/>
                      <a:pt x="2" y="156"/>
                      <a:pt x="2" y="156"/>
                    </a:cubicBezTo>
                    <a:cubicBezTo>
                      <a:pt x="3" y="158"/>
                      <a:pt x="1" y="162"/>
                      <a:pt x="2" y="166"/>
                    </a:cubicBezTo>
                    <a:cubicBezTo>
                      <a:pt x="1" y="166"/>
                      <a:pt x="1" y="168"/>
                      <a:pt x="0" y="169"/>
                    </a:cubicBezTo>
                    <a:cubicBezTo>
                      <a:pt x="1" y="169"/>
                      <a:pt x="1" y="177"/>
                      <a:pt x="2" y="178"/>
                    </a:cubicBezTo>
                    <a:cubicBezTo>
                      <a:pt x="2" y="178"/>
                      <a:pt x="2" y="182"/>
                      <a:pt x="2" y="182"/>
                    </a:cubicBezTo>
                    <a:cubicBezTo>
                      <a:pt x="3" y="191"/>
                      <a:pt x="5" y="191"/>
                      <a:pt x="7" y="199"/>
                    </a:cubicBezTo>
                    <a:cubicBezTo>
                      <a:pt x="5" y="197"/>
                      <a:pt x="5" y="201"/>
                      <a:pt x="4" y="196"/>
                    </a:cubicBezTo>
                    <a:cubicBezTo>
                      <a:pt x="4" y="198"/>
                      <a:pt x="5" y="201"/>
                      <a:pt x="5" y="201"/>
                    </a:cubicBezTo>
                    <a:cubicBezTo>
                      <a:pt x="5" y="202"/>
                      <a:pt x="8" y="207"/>
                      <a:pt x="8" y="210"/>
                    </a:cubicBezTo>
                    <a:cubicBezTo>
                      <a:pt x="9" y="211"/>
                      <a:pt x="10" y="211"/>
                      <a:pt x="11" y="214"/>
                    </a:cubicBezTo>
                    <a:cubicBezTo>
                      <a:pt x="11" y="214"/>
                      <a:pt x="10" y="214"/>
                      <a:pt x="10" y="214"/>
                    </a:cubicBezTo>
                    <a:cubicBezTo>
                      <a:pt x="11" y="214"/>
                      <a:pt x="12" y="218"/>
                      <a:pt x="12" y="216"/>
                    </a:cubicBezTo>
                    <a:cubicBezTo>
                      <a:pt x="13" y="220"/>
                      <a:pt x="14" y="225"/>
                      <a:pt x="17" y="230"/>
                    </a:cubicBezTo>
                    <a:cubicBezTo>
                      <a:pt x="20" y="235"/>
                      <a:pt x="22" y="240"/>
                      <a:pt x="23" y="244"/>
                    </a:cubicBezTo>
                    <a:cubicBezTo>
                      <a:pt x="25" y="246"/>
                      <a:pt x="27" y="249"/>
                      <a:pt x="28" y="251"/>
                    </a:cubicBezTo>
                    <a:cubicBezTo>
                      <a:pt x="30" y="254"/>
                      <a:pt x="32" y="257"/>
                      <a:pt x="34" y="259"/>
                    </a:cubicBezTo>
                    <a:cubicBezTo>
                      <a:pt x="33" y="258"/>
                      <a:pt x="33" y="259"/>
                      <a:pt x="33" y="258"/>
                    </a:cubicBezTo>
                    <a:cubicBezTo>
                      <a:pt x="37" y="264"/>
                      <a:pt x="37" y="260"/>
                      <a:pt x="42" y="267"/>
                    </a:cubicBezTo>
                    <a:cubicBezTo>
                      <a:pt x="43" y="271"/>
                      <a:pt x="39" y="264"/>
                      <a:pt x="40" y="266"/>
                    </a:cubicBezTo>
                    <a:cubicBezTo>
                      <a:pt x="38" y="269"/>
                      <a:pt x="47" y="274"/>
                      <a:pt x="50" y="279"/>
                    </a:cubicBezTo>
                    <a:cubicBezTo>
                      <a:pt x="48" y="278"/>
                      <a:pt x="48" y="278"/>
                      <a:pt x="48" y="278"/>
                    </a:cubicBezTo>
                    <a:cubicBezTo>
                      <a:pt x="51" y="282"/>
                      <a:pt x="57" y="284"/>
                      <a:pt x="62" y="289"/>
                    </a:cubicBezTo>
                    <a:cubicBezTo>
                      <a:pt x="62" y="289"/>
                      <a:pt x="62" y="289"/>
                      <a:pt x="62" y="289"/>
                    </a:cubicBezTo>
                    <a:cubicBezTo>
                      <a:pt x="63" y="290"/>
                      <a:pt x="64" y="291"/>
                      <a:pt x="65" y="291"/>
                    </a:cubicBezTo>
                    <a:cubicBezTo>
                      <a:pt x="67" y="292"/>
                      <a:pt x="69" y="293"/>
                      <a:pt x="70" y="294"/>
                    </a:cubicBezTo>
                    <a:cubicBezTo>
                      <a:pt x="73" y="296"/>
                      <a:pt x="77" y="298"/>
                      <a:pt x="79" y="300"/>
                    </a:cubicBezTo>
                    <a:cubicBezTo>
                      <a:pt x="77" y="299"/>
                      <a:pt x="77" y="298"/>
                      <a:pt x="77" y="300"/>
                    </a:cubicBezTo>
                    <a:cubicBezTo>
                      <a:pt x="80" y="302"/>
                      <a:pt x="77" y="298"/>
                      <a:pt x="83" y="301"/>
                    </a:cubicBezTo>
                    <a:cubicBezTo>
                      <a:pt x="84" y="303"/>
                      <a:pt x="87" y="305"/>
                      <a:pt x="87" y="306"/>
                    </a:cubicBezTo>
                    <a:cubicBezTo>
                      <a:pt x="82" y="304"/>
                      <a:pt x="82" y="304"/>
                      <a:pt x="82" y="304"/>
                    </a:cubicBezTo>
                    <a:cubicBezTo>
                      <a:pt x="84" y="306"/>
                      <a:pt x="89" y="307"/>
                      <a:pt x="91" y="309"/>
                    </a:cubicBezTo>
                    <a:cubicBezTo>
                      <a:pt x="91" y="309"/>
                      <a:pt x="91" y="309"/>
                      <a:pt x="91" y="309"/>
                    </a:cubicBezTo>
                    <a:cubicBezTo>
                      <a:pt x="99" y="313"/>
                      <a:pt x="99" y="311"/>
                      <a:pt x="108" y="315"/>
                    </a:cubicBezTo>
                    <a:cubicBezTo>
                      <a:pt x="107" y="315"/>
                      <a:pt x="107" y="315"/>
                      <a:pt x="107" y="315"/>
                    </a:cubicBezTo>
                    <a:cubicBezTo>
                      <a:pt x="112" y="315"/>
                      <a:pt x="111" y="317"/>
                      <a:pt x="116" y="318"/>
                    </a:cubicBezTo>
                    <a:cubicBezTo>
                      <a:pt x="117" y="320"/>
                      <a:pt x="117" y="320"/>
                      <a:pt x="117" y="320"/>
                    </a:cubicBezTo>
                    <a:cubicBezTo>
                      <a:pt x="119" y="320"/>
                      <a:pt x="121" y="321"/>
                      <a:pt x="125" y="321"/>
                    </a:cubicBezTo>
                    <a:cubicBezTo>
                      <a:pt x="128" y="322"/>
                      <a:pt x="132" y="322"/>
                      <a:pt x="135" y="323"/>
                    </a:cubicBezTo>
                    <a:cubicBezTo>
                      <a:pt x="131" y="323"/>
                      <a:pt x="124" y="322"/>
                      <a:pt x="120" y="321"/>
                    </a:cubicBezTo>
                    <a:cubicBezTo>
                      <a:pt x="123" y="322"/>
                      <a:pt x="131" y="324"/>
                      <a:pt x="132" y="324"/>
                    </a:cubicBezTo>
                    <a:cubicBezTo>
                      <a:pt x="131" y="324"/>
                      <a:pt x="129" y="324"/>
                      <a:pt x="128" y="323"/>
                    </a:cubicBezTo>
                    <a:cubicBezTo>
                      <a:pt x="130" y="323"/>
                      <a:pt x="133" y="323"/>
                      <a:pt x="135" y="323"/>
                    </a:cubicBezTo>
                    <a:cubicBezTo>
                      <a:pt x="138" y="324"/>
                      <a:pt x="141" y="324"/>
                      <a:pt x="144" y="325"/>
                    </a:cubicBezTo>
                    <a:cubicBezTo>
                      <a:pt x="142" y="328"/>
                      <a:pt x="161" y="328"/>
                      <a:pt x="166" y="330"/>
                    </a:cubicBezTo>
                    <a:cubicBezTo>
                      <a:pt x="169" y="330"/>
                      <a:pt x="172" y="330"/>
                      <a:pt x="175" y="330"/>
                    </a:cubicBezTo>
                    <a:cubicBezTo>
                      <a:pt x="178" y="331"/>
                      <a:pt x="181" y="330"/>
                      <a:pt x="184" y="330"/>
                    </a:cubicBezTo>
                    <a:cubicBezTo>
                      <a:pt x="187" y="330"/>
                      <a:pt x="190" y="331"/>
                      <a:pt x="193" y="330"/>
                    </a:cubicBezTo>
                    <a:cubicBezTo>
                      <a:pt x="196" y="330"/>
                      <a:pt x="200" y="330"/>
                      <a:pt x="203" y="329"/>
                    </a:cubicBezTo>
                    <a:cubicBezTo>
                      <a:pt x="198" y="327"/>
                      <a:pt x="207" y="329"/>
                      <a:pt x="206" y="326"/>
                    </a:cubicBezTo>
                    <a:cubicBezTo>
                      <a:pt x="209" y="326"/>
                      <a:pt x="210" y="325"/>
                      <a:pt x="211" y="325"/>
                    </a:cubicBezTo>
                    <a:cubicBezTo>
                      <a:pt x="220" y="325"/>
                      <a:pt x="220" y="325"/>
                      <a:pt x="220" y="325"/>
                    </a:cubicBezTo>
                    <a:cubicBezTo>
                      <a:pt x="223" y="325"/>
                      <a:pt x="217" y="326"/>
                      <a:pt x="218" y="327"/>
                    </a:cubicBezTo>
                    <a:cubicBezTo>
                      <a:pt x="221" y="326"/>
                      <a:pt x="222" y="326"/>
                      <a:pt x="223" y="326"/>
                    </a:cubicBezTo>
                    <a:cubicBezTo>
                      <a:pt x="223" y="326"/>
                      <a:pt x="223" y="327"/>
                      <a:pt x="226" y="326"/>
                    </a:cubicBezTo>
                    <a:cubicBezTo>
                      <a:pt x="225" y="326"/>
                      <a:pt x="228" y="324"/>
                      <a:pt x="232" y="324"/>
                    </a:cubicBezTo>
                    <a:cubicBezTo>
                      <a:pt x="226" y="324"/>
                      <a:pt x="226" y="324"/>
                      <a:pt x="226" y="324"/>
                    </a:cubicBezTo>
                    <a:cubicBezTo>
                      <a:pt x="231" y="322"/>
                      <a:pt x="233" y="322"/>
                      <a:pt x="235" y="322"/>
                    </a:cubicBezTo>
                    <a:cubicBezTo>
                      <a:pt x="237" y="322"/>
                      <a:pt x="239" y="321"/>
                      <a:pt x="244" y="319"/>
                    </a:cubicBezTo>
                    <a:cubicBezTo>
                      <a:pt x="241" y="321"/>
                      <a:pt x="241" y="321"/>
                      <a:pt x="241" y="321"/>
                    </a:cubicBezTo>
                    <a:cubicBezTo>
                      <a:pt x="246" y="319"/>
                      <a:pt x="259" y="314"/>
                      <a:pt x="262" y="309"/>
                    </a:cubicBezTo>
                    <a:cubicBezTo>
                      <a:pt x="263" y="309"/>
                      <a:pt x="264" y="309"/>
                      <a:pt x="263" y="311"/>
                    </a:cubicBezTo>
                    <a:cubicBezTo>
                      <a:pt x="268" y="308"/>
                      <a:pt x="274" y="304"/>
                      <a:pt x="279" y="300"/>
                    </a:cubicBezTo>
                    <a:cubicBezTo>
                      <a:pt x="280" y="299"/>
                      <a:pt x="281" y="298"/>
                      <a:pt x="282" y="297"/>
                    </a:cubicBezTo>
                    <a:cubicBezTo>
                      <a:pt x="283" y="297"/>
                      <a:pt x="284" y="296"/>
                      <a:pt x="284" y="296"/>
                    </a:cubicBezTo>
                    <a:cubicBezTo>
                      <a:pt x="284" y="296"/>
                      <a:pt x="284" y="296"/>
                      <a:pt x="284" y="296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5"/>
                      <a:pt x="285" y="295"/>
                      <a:pt x="285" y="295"/>
                    </a:cubicBezTo>
                    <a:cubicBezTo>
                      <a:pt x="285" y="296"/>
                      <a:pt x="281" y="289"/>
                      <a:pt x="282" y="292"/>
                    </a:cubicBezTo>
                    <a:cubicBezTo>
                      <a:pt x="283" y="292"/>
                      <a:pt x="282" y="293"/>
                      <a:pt x="282" y="293"/>
                    </a:cubicBezTo>
                    <a:cubicBezTo>
                      <a:pt x="282" y="294"/>
                      <a:pt x="282" y="294"/>
                      <a:pt x="281" y="295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1" y="296"/>
                      <a:pt x="281" y="296"/>
                      <a:pt x="281" y="296"/>
                    </a:cubicBezTo>
                    <a:cubicBezTo>
                      <a:pt x="283" y="297"/>
                      <a:pt x="285" y="299"/>
                      <a:pt x="287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87" y="302"/>
                      <a:pt x="289" y="303"/>
                      <a:pt x="291" y="305"/>
                    </a:cubicBezTo>
                    <a:cubicBezTo>
                      <a:pt x="291" y="305"/>
                      <a:pt x="290" y="305"/>
                      <a:pt x="290" y="306"/>
                    </a:cubicBezTo>
                    <a:cubicBezTo>
                      <a:pt x="291" y="306"/>
                      <a:pt x="295" y="309"/>
                      <a:pt x="297" y="311"/>
                    </a:cubicBezTo>
                    <a:cubicBezTo>
                      <a:pt x="295" y="310"/>
                      <a:pt x="295" y="310"/>
                      <a:pt x="295" y="310"/>
                    </a:cubicBezTo>
                    <a:cubicBezTo>
                      <a:pt x="303" y="319"/>
                      <a:pt x="309" y="321"/>
                      <a:pt x="316" y="328"/>
                    </a:cubicBezTo>
                    <a:cubicBezTo>
                      <a:pt x="315" y="329"/>
                      <a:pt x="321" y="336"/>
                      <a:pt x="324" y="340"/>
                    </a:cubicBezTo>
                    <a:cubicBezTo>
                      <a:pt x="323" y="340"/>
                      <a:pt x="323" y="340"/>
                      <a:pt x="323" y="340"/>
                    </a:cubicBezTo>
                    <a:cubicBezTo>
                      <a:pt x="333" y="349"/>
                      <a:pt x="341" y="355"/>
                      <a:pt x="350" y="363"/>
                    </a:cubicBezTo>
                    <a:cubicBezTo>
                      <a:pt x="354" y="370"/>
                      <a:pt x="368" y="383"/>
                      <a:pt x="376" y="392"/>
                    </a:cubicBezTo>
                    <a:cubicBezTo>
                      <a:pt x="374" y="391"/>
                      <a:pt x="377" y="392"/>
                      <a:pt x="378" y="393"/>
                    </a:cubicBezTo>
                    <a:cubicBezTo>
                      <a:pt x="380" y="396"/>
                      <a:pt x="385" y="398"/>
                      <a:pt x="383" y="399"/>
                    </a:cubicBezTo>
                    <a:cubicBezTo>
                      <a:pt x="383" y="398"/>
                      <a:pt x="383" y="398"/>
                      <a:pt x="383" y="398"/>
                    </a:cubicBezTo>
                    <a:cubicBezTo>
                      <a:pt x="383" y="401"/>
                      <a:pt x="388" y="405"/>
                      <a:pt x="391" y="408"/>
                    </a:cubicBezTo>
                    <a:cubicBezTo>
                      <a:pt x="393" y="407"/>
                      <a:pt x="393" y="407"/>
                      <a:pt x="393" y="407"/>
                    </a:cubicBezTo>
                    <a:cubicBezTo>
                      <a:pt x="399" y="418"/>
                      <a:pt x="416" y="430"/>
                      <a:pt x="419" y="436"/>
                    </a:cubicBezTo>
                    <a:cubicBezTo>
                      <a:pt x="422" y="438"/>
                      <a:pt x="424" y="441"/>
                      <a:pt x="427" y="442"/>
                    </a:cubicBezTo>
                    <a:cubicBezTo>
                      <a:pt x="426" y="443"/>
                      <a:pt x="426" y="443"/>
                      <a:pt x="426" y="443"/>
                    </a:cubicBezTo>
                    <a:cubicBezTo>
                      <a:pt x="431" y="449"/>
                      <a:pt x="434" y="452"/>
                      <a:pt x="441" y="459"/>
                    </a:cubicBezTo>
                    <a:cubicBezTo>
                      <a:pt x="439" y="458"/>
                      <a:pt x="439" y="458"/>
                      <a:pt x="439" y="458"/>
                    </a:cubicBezTo>
                    <a:cubicBezTo>
                      <a:pt x="443" y="462"/>
                      <a:pt x="447" y="461"/>
                      <a:pt x="451" y="465"/>
                    </a:cubicBezTo>
                    <a:cubicBezTo>
                      <a:pt x="451" y="467"/>
                      <a:pt x="451" y="467"/>
                      <a:pt x="451" y="467"/>
                    </a:cubicBezTo>
                    <a:cubicBezTo>
                      <a:pt x="452" y="468"/>
                      <a:pt x="453" y="469"/>
                      <a:pt x="454" y="470"/>
                    </a:cubicBezTo>
                    <a:cubicBezTo>
                      <a:pt x="454" y="470"/>
                      <a:pt x="454" y="470"/>
                      <a:pt x="454" y="470"/>
                    </a:cubicBezTo>
                    <a:cubicBezTo>
                      <a:pt x="455" y="470"/>
                      <a:pt x="454" y="470"/>
                      <a:pt x="455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6" y="471"/>
                      <a:pt x="456" y="471"/>
                      <a:pt x="456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7" y="471"/>
                      <a:pt x="457" y="471"/>
                      <a:pt x="457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8" y="471"/>
                      <a:pt x="458" y="471"/>
                      <a:pt x="458" y="471"/>
                    </a:cubicBezTo>
                    <a:cubicBezTo>
                      <a:pt x="459" y="471"/>
                      <a:pt x="459" y="471"/>
                      <a:pt x="459" y="471"/>
                    </a:cubicBezTo>
                    <a:cubicBezTo>
                      <a:pt x="460" y="471"/>
                      <a:pt x="461" y="471"/>
                      <a:pt x="462" y="471"/>
                    </a:cubicBezTo>
                    <a:cubicBezTo>
                      <a:pt x="465" y="469"/>
                      <a:pt x="467" y="468"/>
                      <a:pt x="470" y="466"/>
                    </a:cubicBezTo>
                    <a:cubicBezTo>
                      <a:pt x="474" y="463"/>
                      <a:pt x="478" y="459"/>
                      <a:pt x="481" y="455"/>
                    </a:cubicBezTo>
                    <a:cubicBezTo>
                      <a:pt x="481" y="455"/>
                      <a:pt x="481" y="456"/>
                      <a:pt x="480" y="457"/>
                    </a:cubicBezTo>
                    <a:cubicBezTo>
                      <a:pt x="481" y="456"/>
                      <a:pt x="482" y="455"/>
                      <a:pt x="483" y="453"/>
                    </a:cubicBezTo>
                    <a:cubicBezTo>
                      <a:pt x="485" y="451"/>
                      <a:pt x="486" y="449"/>
                      <a:pt x="487" y="447"/>
                    </a:cubicBezTo>
                    <a:cubicBezTo>
                      <a:pt x="487" y="446"/>
                      <a:pt x="487" y="446"/>
                      <a:pt x="487" y="445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88" y="444"/>
                      <a:pt x="488" y="444"/>
                      <a:pt x="488" y="444"/>
                    </a:cubicBezTo>
                    <a:cubicBezTo>
                      <a:pt x="488" y="443"/>
                      <a:pt x="488" y="442"/>
                      <a:pt x="488" y="442"/>
                    </a:cubicBezTo>
                    <a:cubicBezTo>
                      <a:pt x="488" y="442"/>
                      <a:pt x="488" y="441"/>
                      <a:pt x="488" y="441"/>
                    </a:cubicBezTo>
                    <a:cubicBezTo>
                      <a:pt x="487" y="440"/>
                      <a:pt x="487" y="440"/>
                      <a:pt x="487" y="440"/>
                    </a:cubicBezTo>
                    <a:cubicBezTo>
                      <a:pt x="486" y="438"/>
                      <a:pt x="486" y="438"/>
                      <a:pt x="485" y="438"/>
                    </a:cubicBezTo>
                    <a:cubicBezTo>
                      <a:pt x="484" y="437"/>
                      <a:pt x="484" y="436"/>
                      <a:pt x="484" y="437"/>
                    </a:cubicBezTo>
                    <a:cubicBezTo>
                      <a:pt x="485" y="436"/>
                      <a:pt x="477" y="429"/>
                      <a:pt x="473" y="425"/>
                    </a:cubicBezTo>
                    <a:cubicBezTo>
                      <a:pt x="474" y="425"/>
                      <a:pt x="474" y="425"/>
                      <a:pt x="474" y="425"/>
                    </a:cubicBezTo>
                    <a:cubicBezTo>
                      <a:pt x="470" y="423"/>
                      <a:pt x="470" y="423"/>
                      <a:pt x="465" y="419"/>
                    </a:cubicBezTo>
                    <a:cubicBezTo>
                      <a:pt x="464" y="417"/>
                      <a:pt x="465" y="417"/>
                      <a:pt x="466" y="419"/>
                    </a:cubicBezTo>
                    <a:cubicBezTo>
                      <a:pt x="463" y="415"/>
                      <a:pt x="462" y="417"/>
                      <a:pt x="459" y="412"/>
                    </a:cubicBezTo>
                    <a:cubicBezTo>
                      <a:pt x="461" y="413"/>
                      <a:pt x="461" y="413"/>
                      <a:pt x="461" y="413"/>
                    </a:cubicBezTo>
                    <a:cubicBezTo>
                      <a:pt x="457" y="409"/>
                      <a:pt x="457" y="410"/>
                      <a:pt x="455" y="408"/>
                    </a:cubicBezTo>
                    <a:cubicBezTo>
                      <a:pt x="452" y="406"/>
                      <a:pt x="448" y="401"/>
                      <a:pt x="448" y="400"/>
                    </a:cubicBezTo>
                    <a:cubicBezTo>
                      <a:pt x="447" y="399"/>
                      <a:pt x="445" y="398"/>
                      <a:pt x="443" y="396"/>
                    </a:cubicBezTo>
                    <a:cubicBezTo>
                      <a:pt x="443" y="395"/>
                      <a:pt x="444" y="396"/>
                      <a:pt x="444" y="396"/>
                    </a:cubicBezTo>
                    <a:cubicBezTo>
                      <a:pt x="439" y="389"/>
                      <a:pt x="434" y="388"/>
                      <a:pt x="431" y="383"/>
                    </a:cubicBezTo>
                    <a:cubicBezTo>
                      <a:pt x="431" y="382"/>
                      <a:pt x="431" y="382"/>
                      <a:pt x="431" y="381"/>
                    </a:cubicBezTo>
                    <a:cubicBezTo>
                      <a:pt x="436" y="386"/>
                      <a:pt x="439" y="390"/>
                      <a:pt x="439" y="390"/>
                    </a:cubicBezTo>
                    <a:cubicBezTo>
                      <a:pt x="440" y="389"/>
                      <a:pt x="436" y="385"/>
                      <a:pt x="440" y="387"/>
                    </a:cubicBezTo>
                    <a:cubicBezTo>
                      <a:pt x="436" y="385"/>
                      <a:pt x="430" y="380"/>
                      <a:pt x="427" y="376"/>
                    </a:cubicBezTo>
                    <a:cubicBezTo>
                      <a:pt x="426" y="376"/>
                      <a:pt x="426" y="376"/>
                      <a:pt x="426" y="375"/>
                    </a:cubicBezTo>
                    <a:cubicBezTo>
                      <a:pt x="427" y="376"/>
                      <a:pt x="427" y="376"/>
                      <a:pt x="427" y="376"/>
                    </a:cubicBezTo>
                    <a:cubicBezTo>
                      <a:pt x="426" y="375"/>
                      <a:pt x="425" y="374"/>
                      <a:pt x="424" y="373"/>
                    </a:cubicBezTo>
                    <a:cubicBezTo>
                      <a:pt x="423" y="372"/>
                      <a:pt x="423" y="371"/>
                      <a:pt x="421" y="370"/>
                    </a:cubicBezTo>
                    <a:cubicBezTo>
                      <a:pt x="422" y="369"/>
                      <a:pt x="417" y="365"/>
                      <a:pt x="415" y="363"/>
                    </a:cubicBezTo>
                    <a:cubicBezTo>
                      <a:pt x="415" y="364"/>
                      <a:pt x="412" y="361"/>
                      <a:pt x="414" y="364"/>
                    </a:cubicBezTo>
                    <a:cubicBezTo>
                      <a:pt x="414" y="364"/>
                      <a:pt x="414" y="365"/>
                      <a:pt x="416" y="366"/>
                    </a:cubicBezTo>
                    <a:cubicBezTo>
                      <a:pt x="416" y="366"/>
                      <a:pt x="416" y="367"/>
                      <a:pt x="417" y="367"/>
                    </a:cubicBezTo>
                    <a:cubicBezTo>
                      <a:pt x="417" y="367"/>
                      <a:pt x="417" y="367"/>
                      <a:pt x="417" y="367"/>
                    </a:cubicBezTo>
                    <a:cubicBezTo>
                      <a:pt x="418" y="368"/>
                      <a:pt x="419" y="370"/>
                      <a:pt x="421" y="372"/>
                    </a:cubicBezTo>
                    <a:cubicBezTo>
                      <a:pt x="419" y="370"/>
                      <a:pt x="417" y="369"/>
                      <a:pt x="416" y="366"/>
                    </a:cubicBezTo>
                    <a:cubicBezTo>
                      <a:pt x="414" y="366"/>
                      <a:pt x="413" y="365"/>
                      <a:pt x="412" y="365"/>
                    </a:cubicBezTo>
                    <a:cubicBezTo>
                      <a:pt x="410" y="361"/>
                      <a:pt x="406" y="355"/>
                      <a:pt x="406" y="354"/>
                    </a:cubicBezTo>
                    <a:cubicBezTo>
                      <a:pt x="399" y="348"/>
                      <a:pt x="392" y="340"/>
                      <a:pt x="386" y="338"/>
                    </a:cubicBezTo>
                    <a:cubicBezTo>
                      <a:pt x="385" y="336"/>
                      <a:pt x="385" y="335"/>
                      <a:pt x="385" y="334"/>
                    </a:cubicBezTo>
                    <a:cubicBezTo>
                      <a:pt x="386" y="335"/>
                      <a:pt x="387" y="336"/>
                      <a:pt x="388" y="337"/>
                    </a:cubicBezTo>
                    <a:cubicBezTo>
                      <a:pt x="384" y="334"/>
                      <a:pt x="377" y="327"/>
                      <a:pt x="376" y="327"/>
                    </a:cubicBezTo>
                    <a:cubicBezTo>
                      <a:pt x="372" y="322"/>
                      <a:pt x="379" y="328"/>
                      <a:pt x="373" y="323"/>
                    </a:cubicBezTo>
                    <a:cubicBezTo>
                      <a:pt x="374" y="323"/>
                      <a:pt x="374" y="323"/>
                      <a:pt x="374" y="323"/>
                    </a:cubicBezTo>
                    <a:cubicBezTo>
                      <a:pt x="364" y="310"/>
                      <a:pt x="353" y="306"/>
                      <a:pt x="343" y="291"/>
                    </a:cubicBezTo>
                    <a:cubicBezTo>
                      <a:pt x="343" y="292"/>
                      <a:pt x="344" y="293"/>
                      <a:pt x="344" y="293"/>
                    </a:cubicBezTo>
                    <a:cubicBezTo>
                      <a:pt x="337" y="285"/>
                      <a:pt x="330" y="278"/>
                      <a:pt x="323" y="270"/>
                    </a:cubicBezTo>
                    <a:cubicBezTo>
                      <a:pt x="321" y="268"/>
                      <a:pt x="319" y="266"/>
                      <a:pt x="317" y="264"/>
                    </a:cubicBezTo>
                    <a:cubicBezTo>
                      <a:pt x="317" y="263"/>
                      <a:pt x="317" y="263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6" y="262"/>
                    </a:cubicBezTo>
                    <a:cubicBezTo>
                      <a:pt x="316" y="262"/>
                      <a:pt x="316" y="262"/>
                      <a:pt x="315" y="262"/>
                    </a:cubicBezTo>
                    <a:cubicBezTo>
                      <a:pt x="315" y="262"/>
                      <a:pt x="315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2"/>
                      <a:pt x="313" y="261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18" y="260"/>
                      <a:pt x="318" y="260"/>
                      <a:pt x="318" y="260"/>
                    </a:cubicBezTo>
                    <a:cubicBezTo>
                      <a:pt x="320" y="258"/>
                      <a:pt x="321" y="256"/>
                      <a:pt x="323" y="254"/>
                    </a:cubicBezTo>
                    <a:cubicBezTo>
                      <a:pt x="325" y="251"/>
                      <a:pt x="326" y="249"/>
                      <a:pt x="328" y="247"/>
                    </a:cubicBezTo>
                    <a:cubicBezTo>
                      <a:pt x="331" y="242"/>
                      <a:pt x="331" y="241"/>
                      <a:pt x="332" y="238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1"/>
                      <a:pt x="335" y="231"/>
                      <a:pt x="335" y="231"/>
                    </a:cubicBezTo>
                    <a:cubicBezTo>
                      <a:pt x="337" y="223"/>
                      <a:pt x="344" y="218"/>
                      <a:pt x="345" y="207"/>
                    </a:cubicBezTo>
                    <a:cubicBezTo>
                      <a:pt x="344" y="208"/>
                      <a:pt x="344" y="208"/>
                      <a:pt x="344" y="208"/>
                    </a:cubicBezTo>
                    <a:cubicBezTo>
                      <a:pt x="345" y="205"/>
                      <a:pt x="346" y="196"/>
                      <a:pt x="347" y="197"/>
                    </a:cubicBezTo>
                    <a:cubicBezTo>
                      <a:pt x="347" y="196"/>
                      <a:pt x="347" y="195"/>
                      <a:pt x="347" y="194"/>
                    </a:cubicBezTo>
                    <a:cubicBezTo>
                      <a:pt x="348" y="194"/>
                      <a:pt x="348" y="194"/>
                      <a:pt x="348" y="194"/>
                    </a:cubicBezTo>
                    <a:cubicBezTo>
                      <a:pt x="348" y="194"/>
                      <a:pt x="348" y="192"/>
                      <a:pt x="348" y="189"/>
                    </a:cubicBezTo>
                    <a:cubicBezTo>
                      <a:pt x="348" y="187"/>
                      <a:pt x="348" y="184"/>
                      <a:pt x="348" y="184"/>
                    </a:cubicBezTo>
                    <a:cubicBezTo>
                      <a:pt x="349" y="181"/>
                      <a:pt x="350" y="181"/>
                      <a:pt x="350" y="181"/>
                    </a:cubicBezTo>
                    <a:cubicBezTo>
                      <a:pt x="351" y="181"/>
                      <a:pt x="352" y="180"/>
                      <a:pt x="352" y="175"/>
                    </a:cubicBezTo>
                    <a:cubicBezTo>
                      <a:pt x="352" y="171"/>
                      <a:pt x="351" y="163"/>
                      <a:pt x="350" y="165"/>
                    </a:cubicBezTo>
                    <a:cubicBezTo>
                      <a:pt x="350" y="166"/>
                      <a:pt x="350" y="169"/>
                      <a:pt x="349" y="169"/>
                    </a:cubicBezTo>
                    <a:cubicBezTo>
                      <a:pt x="349" y="165"/>
                      <a:pt x="349" y="165"/>
                      <a:pt x="349" y="165"/>
                    </a:cubicBezTo>
                    <a:cubicBezTo>
                      <a:pt x="347" y="164"/>
                      <a:pt x="345" y="161"/>
                      <a:pt x="343" y="170"/>
                    </a:cubicBezTo>
                    <a:cubicBezTo>
                      <a:pt x="344" y="177"/>
                      <a:pt x="344" y="177"/>
                      <a:pt x="344" y="177"/>
                    </a:cubicBezTo>
                    <a:cubicBezTo>
                      <a:pt x="344" y="177"/>
                      <a:pt x="343" y="179"/>
                      <a:pt x="343" y="179"/>
                    </a:cubicBezTo>
                    <a:cubicBezTo>
                      <a:pt x="343" y="179"/>
                      <a:pt x="344" y="173"/>
                      <a:pt x="344" y="173"/>
                    </a:cubicBezTo>
                    <a:cubicBezTo>
                      <a:pt x="343" y="176"/>
                      <a:pt x="343" y="178"/>
                      <a:pt x="343" y="180"/>
                    </a:cubicBezTo>
                    <a:cubicBezTo>
                      <a:pt x="343" y="181"/>
                      <a:pt x="342" y="182"/>
                      <a:pt x="342" y="183"/>
                    </a:cubicBezTo>
                    <a:cubicBezTo>
                      <a:pt x="343" y="189"/>
                      <a:pt x="343" y="189"/>
                      <a:pt x="343" y="189"/>
                    </a:cubicBezTo>
                    <a:cubicBezTo>
                      <a:pt x="342" y="190"/>
                      <a:pt x="342" y="186"/>
                      <a:pt x="341" y="190"/>
                    </a:cubicBezTo>
                    <a:cubicBezTo>
                      <a:pt x="341" y="193"/>
                      <a:pt x="343" y="188"/>
                      <a:pt x="343" y="192"/>
                    </a:cubicBezTo>
                    <a:cubicBezTo>
                      <a:pt x="341" y="195"/>
                      <a:pt x="341" y="194"/>
                      <a:pt x="341" y="198"/>
                    </a:cubicBezTo>
                    <a:cubicBezTo>
                      <a:pt x="340" y="198"/>
                      <a:pt x="340" y="197"/>
                      <a:pt x="340" y="196"/>
                    </a:cubicBezTo>
                    <a:cubicBezTo>
                      <a:pt x="340" y="199"/>
                      <a:pt x="339" y="204"/>
                      <a:pt x="339" y="205"/>
                    </a:cubicBezTo>
                    <a:cubicBezTo>
                      <a:pt x="337" y="208"/>
                      <a:pt x="336" y="215"/>
                      <a:pt x="335" y="215"/>
                    </a:cubicBezTo>
                    <a:cubicBezTo>
                      <a:pt x="335" y="216"/>
                      <a:pt x="334" y="220"/>
                      <a:pt x="333" y="223"/>
                    </a:cubicBezTo>
                    <a:cubicBezTo>
                      <a:pt x="333" y="220"/>
                      <a:pt x="332" y="222"/>
                      <a:pt x="331" y="225"/>
                    </a:cubicBezTo>
                    <a:cubicBezTo>
                      <a:pt x="329" y="228"/>
                      <a:pt x="328" y="231"/>
                      <a:pt x="327" y="230"/>
                    </a:cubicBezTo>
                    <a:cubicBezTo>
                      <a:pt x="327" y="232"/>
                      <a:pt x="326" y="235"/>
                      <a:pt x="324" y="239"/>
                    </a:cubicBezTo>
                    <a:cubicBezTo>
                      <a:pt x="322" y="242"/>
                      <a:pt x="320" y="246"/>
                      <a:pt x="318" y="249"/>
                    </a:cubicBezTo>
                    <a:cubicBezTo>
                      <a:pt x="319" y="248"/>
                      <a:pt x="319" y="247"/>
                      <a:pt x="319" y="247"/>
                    </a:cubicBezTo>
                    <a:cubicBezTo>
                      <a:pt x="317" y="250"/>
                      <a:pt x="316" y="251"/>
                      <a:pt x="314" y="252"/>
                    </a:cubicBezTo>
                    <a:cubicBezTo>
                      <a:pt x="314" y="253"/>
                      <a:pt x="314" y="255"/>
                      <a:pt x="313" y="256"/>
                    </a:cubicBezTo>
                    <a:cubicBezTo>
                      <a:pt x="313" y="257"/>
                      <a:pt x="312" y="258"/>
                      <a:pt x="312" y="259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2" y="260"/>
                      <a:pt x="312" y="260"/>
                      <a:pt x="312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0"/>
                      <a:pt x="311" y="260"/>
                      <a:pt x="311" y="260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1"/>
                    </a:cubicBezTo>
                    <a:cubicBezTo>
                      <a:pt x="311" y="261"/>
                      <a:pt x="311" y="261"/>
                      <a:pt x="311" y="262"/>
                    </a:cubicBezTo>
                    <a:cubicBezTo>
                      <a:pt x="311" y="262"/>
                      <a:pt x="311" y="262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3"/>
                      <a:pt x="311" y="263"/>
                      <a:pt x="311" y="263"/>
                    </a:cubicBezTo>
                    <a:cubicBezTo>
                      <a:pt x="311" y="264"/>
                      <a:pt x="311" y="264"/>
                      <a:pt x="311" y="264"/>
                    </a:cubicBezTo>
                    <a:cubicBezTo>
                      <a:pt x="312" y="265"/>
                      <a:pt x="312" y="265"/>
                      <a:pt x="313" y="265"/>
                    </a:cubicBezTo>
                    <a:cubicBezTo>
                      <a:pt x="314" y="268"/>
                      <a:pt x="313" y="268"/>
                      <a:pt x="312" y="267"/>
                    </a:cubicBezTo>
                    <a:cubicBezTo>
                      <a:pt x="311" y="266"/>
                      <a:pt x="310" y="266"/>
                      <a:pt x="310" y="265"/>
                    </a:cubicBezTo>
                    <a:cubicBezTo>
                      <a:pt x="309" y="265"/>
                      <a:pt x="309" y="264"/>
                      <a:pt x="309" y="265"/>
                    </a:cubicBezTo>
                    <a:cubicBezTo>
                      <a:pt x="310" y="266"/>
                      <a:pt x="316" y="272"/>
                      <a:pt x="315" y="270"/>
                    </a:cubicBezTo>
                    <a:cubicBezTo>
                      <a:pt x="317" y="274"/>
                      <a:pt x="317" y="273"/>
                      <a:pt x="317" y="275"/>
                    </a:cubicBezTo>
                    <a:cubicBezTo>
                      <a:pt x="319" y="275"/>
                      <a:pt x="320" y="278"/>
                      <a:pt x="323" y="279"/>
                    </a:cubicBezTo>
                    <a:cubicBezTo>
                      <a:pt x="326" y="284"/>
                      <a:pt x="322" y="282"/>
                      <a:pt x="327" y="285"/>
                    </a:cubicBezTo>
                    <a:cubicBezTo>
                      <a:pt x="328" y="288"/>
                      <a:pt x="324" y="285"/>
                      <a:pt x="324" y="285"/>
                    </a:cubicBezTo>
                    <a:moveTo>
                      <a:pt x="423" y="382"/>
                    </a:moveTo>
                    <a:cubicBezTo>
                      <a:pt x="423" y="382"/>
                      <a:pt x="423" y="382"/>
                      <a:pt x="423" y="382"/>
                    </a:cubicBezTo>
                    <a:cubicBezTo>
                      <a:pt x="422" y="381"/>
                      <a:pt x="421" y="381"/>
                      <a:pt x="421" y="380"/>
                    </a:cubicBezTo>
                    <a:cubicBezTo>
                      <a:pt x="421" y="381"/>
                      <a:pt x="422" y="381"/>
                      <a:pt x="423" y="382"/>
                    </a:cubicBezTo>
                    <a:moveTo>
                      <a:pt x="431" y="390"/>
                    </a:moveTo>
                    <a:cubicBezTo>
                      <a:pt x="430" y="389"/>
                      <a:pt x="429" y="388"/>
                      <a:pt x="427" y="387"/>
                    </a:cubicBezTo>
                    <a:cubicBezTo>
                      <a:pt x="427" y="386"/>
                      <a:pt x="428" y="386"/>
                      <a:pt x="429" y="387"/>
                    </a:cubicBezTo>
                    <a:cubicBezTo>
                      <a:pt x="428" y="387"/>
                      <a:pt x="430" y="389"/>
                      <a:pt x="431" y="390"/>
                    </a:cubicBezTo>
                    <a:moveTo>
                      <a:pt x="419" y="367"/>
                    </a:moveTo>
                    <a:cubicBezTo>
                      <a:pt x="421" y="369"/>
                      <a:pt x="421" y="369"/>
                      <a:pt x="421" y="369"/>
                    </a:cubicBezTo>
                    <a:cubicBezTo>
                      <a:pt x="420" y="369"/>
                      <a:pt x="419" y="368"/>
                      <a:pt x="419" y="367"/>
                    </a:cubicBezTo>
                    <a:cubicBezTo>
                      <a:pt x="418" y="367"/>
                      <a:pt x="418" y="367"/>
                      <a:pt x="418" y="367"/>
                    </a:cubicBezTo>
                    <a:cubicBezTo>
                      <a:pt x="419" y="367"/>
                      <a:pt x="419" y="367"/>
                      <a:pt x="419" y="3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492" name="Group 491"/>
          <p:cNvGrpSpPr/>
          <p:nvPr/>
        </p:nvGrpSpPr>
        <p:grpSpPr>
          <a:xfrm>
            <a:off x="3517515" y="1547305"/>
            <a:ext cx="793571" cy="162368"/>
            <a:chOff x="3447474" y="1547305"/>
            <a:chExt cx="793571" cy="162368"/>
          </a:xfrm>
        </p:grpSpPr>
        <p:sp>
          <p:nvSpPr>
            <p:cNvPr id="49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3447474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List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494" name="Group 493"/>
            <p:cNvGrpSpPr/>
            <p:nvPr/>
          </p:nvGrpSpPr>
          <p:grpSpPr>
            <a:xfrm>
              <a:off x="3620790" y="1555490"/>
              <a:ext cx="108986" cy="132668"/>
              <a:chOff x="7307263" y="3144838"/>
              <a:chExt cx="550863" cy="609601"/>
            </a:xfrm>
            <a:solidFill>
              <a:schemeClr val="accent1"/>
            </a:solidFill>
          </p:grpSpPr>
          <p:sp>
            <p:nvSpPr>
              <p:cNvPr id="495" name="Freeform 616"/>
              <p:cNvSpPr>
                <a:spLocks noEditPoints="1"/>
              </p:cNvSpPr>
              <p:nvPr/>
            </p:nvSpPr>
            <p:spPr bwMode="auto">
              <a:xfrm>
                <a:off x="7307263" y="3144838"/>
                <a:ext cx="550863" cy="579438"/>
              </a:xfrm>
              <a:custGeom>
                <a:avLst/>
                <a:gdLst>
                  <a:gd name="T0" fmla="*/ 120 w 140"/>
                  <a:gd name="T1" fmla="*/ 42 h 147"/>
                  <a:gd name="T2" fmla="*/ 119 w 140"/>
                  <a:gd name="T3" fmla="*/ 51 h 147"/>
                  <a:gd name="T4" fmla="*/ 112 w 140"/>
                  <a:gd name="T5" fmla="*/ 53 h 147"/>
                  <a:gd name="T6" fmla="*/ 107 w 140"/>
                  <a:gd name="T7" fmla="*/ 52 h 147"/>
                  <a:gd name="T8" fmla="*/ 82 w 140"/>
                  <a:gd name="T9" fmla="*/ 51 h 147"/>
                  <a:gd name="T10" fmla="*/ 69 w 140"/>
                  <a:gd name="T11" fmla="*/ 51 h 147"/>
                  <a:gd name="T12" fmla="*/ 46 w 140"/>
                  <a:gd name="T13" fmla="*/ 51 h 147"/>
                  <a:gd name="T14" fmla="*/ 22 w 140"/>
                  <a:gd name="T15" fmla="*/ 49 h 147"/>
                  <a:gd name="T16" fmla="*/ 15 w 140"/>
                  <a:gd name="T17" fmla="*/ 44 h 147"/>
                  <a:gd name="T18" fmla="*/ 15 w 140"/>
                  <a:gd name="T19" fmla="*/ 37 h 147"/>
                  <a:gd name="T20" fmla="*/ 6 w 140"/>
                  <a:gd name="T21" fmla="*/ 40 h 147"/>
                  <a:gd name="T22" fmla="*/ 7 w 140"/>
                  <a:gd name="T23" fmla="*/ 67 h 147"/>
                  <a:gd name="T24" fmla="*/ 7 w 140"/>
                  <a:gd name="T25" fmla="*/ 83 h 147"/>
                  <a:gd name="T26" fmla="*/ 9 w 140"/>
                  <a:gd name="T27" fmla="*/ 108 h 147"/>
                  <a:gd name="T28" fmla="*/ 11 w 140"/>
                  <a:gd name="T29" fmla="*/ 131 h 147"/>
                  <a:gd name="T30" fmla="*/ 12 w 140"/>
                  <a:gd name="T31" fmla="*/ 141 h 147"/>
                  <a:gd name="T32" fmla="*/ 10 w 140"/>
                  <a:gd name="T33" fmla="*/ 147 h 147"/>
                  <a:gd name="T34" fmla="*/ 7 w 140"/>
                  <a:gd name="T35" fmla="*/ 140 h 147"/>
                  <a:gd name="T36" fmla="*/ 5 w 140"/>
                  <a:gd name="T37" fmla="*/ 115 h 147"/>
                  <a:gd name="T38" fmla="*/ 2 w 140"/>
                  <a:gd name="T39" fmla="*/ 61 h 147"/>
                  <a:gd name="T40" fmla="*/ 0 w 140"/>
                  <a:gd name="T41" fmla="*/ 39 h 147"/>
                  <a:gd name="T42" fmla="*/ 9 w 140"/>
                  <a:gd name="T43" fmla="*/ 33 h 147"/>
                  <a:gd name="T44" fmla="*/ 15 w 140"/>
                  <a:gd name="T45" fmla="*/ 32 h 147"/>
                  <a:gd name="T46" fmla="*/ 27 w 140"/>
                  <a:gd name="T47" fmla="*/ 22 h 147"/>
                  <a:gd name="T48" fmla="*/ 38 w 140"/>
                  <a:gd name="T49" fmla="*/ 18 h 147"/>
                  <a:gd name="T50" fmla="*/ 48 w 140"/>
                  <a:gd name="T51" fmla="*/ 15 h 147"/>
                  <a:gd name="T52" fmla="*/ 56 w 140"/>
                  <a:gd name="T53" fmla="*/ 3 h 147"/>
                  <a:gd name="T54" fmla="*/ 71 w 140"/>
                  <a:gd name="T55" fmla="*/ 1 h 147"/>
                  <a:gd name="T56" fmla="*/ 83 w 140"/>
                  <a:gd name="T57" fmla="*/ 9 h 147"/>
                  <a:gd name="T58" fmla="*/ 90 w 140"/>
                  <a:gd name="T59" fmla="*/ 19 h 147"/>
                  <a:gd name="T60" fmla="*/ 104 w 140"/>
                  <a:gd name="T61" fmla="*/ 21 h 147"/>
                  <a:gd name="T62" fmla="*/ 116 w 140"/>
                  <a:gd name="T63" fmla="*/ 30 h 147"/>
                  <a:gd name="T64" fmla="*/ 133 w 140"/>
                  <a:gd name="T65" fmla="*/ 30 h 147"/>
                  <a:gd name="T66" fmla="*/ 140 w 140"/>
                  <a:gd name="T67" fmla="*/ 34 h 147"/>
                  <a:gd name="T68" fmla="*/ 137 w 140"/>
                  <a:gd name="T69" fmla="*/ 36 h 147"/>
                  <a:gd name="T70" fmla="*/ 118 w 140"/>
                  <a:gd name="T71" fmla="*/ 35 h 147"/>
                  <a:gd name="T72" fmla="*/ 115 w 140"/>
                  <a:gd name="T73" fmla="*/ 41 h 147"/>
                  <a:gd name="T74" fmla="*/ 109 w 140"/>
                  <a:gd name="T75" fmla="*/ 30 h 147"/>
                  <a:gd name="T76" fmla="*/ 92 w 140"/>
                  <a:gd name="T77" fmla="*/ 24 h 147"/>
                  <a:gd name="T78" fmla="*/ 86 w 140"/>
                  <a:gd name="T79" fmla="*/ 25 h 147"/>
                  <a:gd name="T80" fmla="*/ 79 w 140"/>
                  <a:gd name="T81" fmla="*/ 14 h 147"/>
                  <a:gd name="T82" fmla="*/ 74 w 140"/>
                  <a:gd name="T83" fmla="*/ 9 h 147"/>
                  <a:gd name="T84" fmla="*/ 55 w 140"/>
                  <a:gd name="T85" fmla="*/ 14 h 147"/>
                  <a:gd name="T86" fmla="*/ 45 w 140"/>
                  <a:gd name="T87" fmla="*/ 24 h 147"/>
                  <a:gd name="T88" fmla="*/ 37 w 140"/>
                  <a:gd name="T89" fmla="*/ 24 h 147"/>
                  <a:gd name="T90" fmla="*/ 28 w 140"/>
                  <a:gd name="T91" fmla="*/ 29 h 147"/>
                  <a:gd name="T92" fmla="*/ 18 w 140"/>
                  <a:gd name="T93" fmla="*/ 44 h 147"/>
                  <a:gd name="T94" fmla="*/ 23 w 140"/>
                  <a:gd name="T95" fmla="*/ 43 h 147"/>
                  <a:gd name="T96" fmla="*/ 52 w 140"/>
                  <a:gd name="T97" fmla="*/ 47 h 147"/>
                  <a:gd name="T98" fmla="*/ 84 w 140"/>
                  <a:gd name="T99" fmla="*/ 46 h 147"/>
                  <a:gd name="T100" fmla="*/ 95 w 140"/>
                  <a:gd name="T101" fmla="*/ 46 h 147"/>
                  <a:gd name="T102" fmla="*/ 113 w 140"/>
                  <a:gd name="T103" fmla="*/ 4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0" h="147">
                    <a:moveTo>
                      <a:pt x="118" y="35"/>
                    </a:moveTo>
                    <a:cubicBezTo>
                      <a:pt x="119" y="38"/>
                      <a:pt x="119" y="40"/>
                      <a:pt x="120" y="42"/>
                    </a:cubicBezTo>
                    <a:cubicBezTo>
                      <a:pt x="121" y="44"/>
                      <a:pt x="121" y="46"/>
                      <a:pt x="121" y="48"/>
                    </a:cubicBezTo>
                    <a:cubicBezTo>
                      <a:pt x="121" y="49"/>
                      <a:pt x="120" y="50"/>
                      <a:pt x="119" y="51"/>
                    </a:cubicBezTo>
                    <a:cubicBezTo>
                      <a:pt x="118" y="50"/>
                      <a:pt x="117" y="51"/>
                      <a:pt x="116" y="52"/>
                    </a:cubicBezTo>
                    <a:cubicBezTo>
                      <a:pt x="115" y="53"/>
                      <a:pt x="114" y="54"/>
                      <a:pt x="112" y="53"/>
                    </a:cubicBezTo>
                    <a:cubicBezTo>
                      <a:pt x="111" y="52"/>
                      <a:pt x="110" y="52"/>
                      <a:pt x="109" y="52"/>
                    </a:cubicBezTo>
                    <a:cubicBezTo>
                      <a:pt x="109" y="52"/>
                      <a:pt x="108" y="52"/>
                      <a:pt x="107" y="52"/>
                    </a:cubicBezTo>
                    <a:cubicBezTo>
                      <a:pt x="105" y="51"/>
                      <a:pt x="102" y="51"/>
                      <a:pt x="99" y="51"/>
                    </a:cubicBezTo>
                    <a:cubicBezTo>
                      <a:pt x="94" y="52"/>
                      <a:pt x="88" y="52"/>
                      <a:pt x="82" y="51"/>
                    </a:cubicBezTo>
                    <a:cubicBezTo>
                      <a:pt x="80" y="51"/>
                      <a:pt x="78" y="51"/>
                      <a:pt x="76" y="51"/>
                    </a:cubicBezTo>
                    <a:cubicBezTo>
                      <a:pt x="74" y="51"/>
                      <a:pt x="71" y="51"/>
                      <a:pt x="69" y="51"/>
                    </a:cubicBezTo>
                    <a:cubicBezTo>
                      <a:pt x="66" y="52"/>
                      <a:pt x="63" y="52"/>
                      <a:pt x="60" y="52"/>
                    </a:cubicBezTo>
                    <a:cubicBezTo>
                      <a:pt x="55" y="51"/>
                      <a:pt x="51" y="51"/>
                      <a:pt x="46" y="51"/>
                    </a:cubicBezTo>
                    <a:cubicBezTo>
                      <a:pt x="41" y="51"/>
                      <a:pt x="37" y="50"/>
                      <a:pt x="32" y="50"/>
                    </a:cubicBezTo>
                    <a:cubicBezTo>
                      <a:pt x="29" y="50"/>
                      <a:pt x="26" y="49"/>
                      <a:pt x="22" y="49"/>
                    </a:cubicBezTo>
                    <a:cubicBezTo>
                      <a:pt x="21" y="49"/>
                      <a:pt x="20" y="49"/>
                      <a:pt x="19" y="49"/>
                    </a:cubicBezTo>
                    <a:cubicBezTo>
                      <a:pt x="16" y="49"/>
                      <a:pt x="15" y="47"/>
                      <a:pt x="15" y="44"/>
                    </a:cubicBezTo>
                    <a:cubicBezTo>
                      <a:pt x="15" y="43"/>
                      <a:pt x="15" y="41"/>
                      <a:pt x="15" y="39"/>
                    </a:cubicBezTo>
                    <a:cubicBezTo>
                      <a:pt x="15" y="39"/>
                      <a:pt x="15" y="38"/>
                      <a:pt x="15" y="37"/>
                    </a:cubicBezTo>
                    <a:cubicBezTo>
                      <a:pt x="12" y="38"/>
                      <a:pt x="9" y="39"/>
                      <a:pt x="7" y="39"/>
                    </a:cubicBezTo>
                    <a:cubicBezTo>
                      <a:pt x="6" y="39"/>
                      <a:pt x="6" y="40"/>
                      <a:pt x="6" y="40"/>
                    </a:cubicBezTo>
                    <a:cubicBezTo>
                      <a:pt x="6" y="43"/>
                      <a:pt x="5" y="46"/>
                      <a:pt x="6" y="49"/>
                    </a:cubicBezTo>
                    <a:cubicBezTo>
                      <a:pt x="6" y="55"/>
                      <a:pt x="6" y="61"/>
                      <a:pt x="7" y="67"/>
                    </a:cubicBezTo>
                    <a:cubicBezTo>
                      <a:pt x="7" y="70"/>
                      <a:pt x="7" y="73"/>
                      <a:pt x="7" y="77"/>
                    </a:cubicBezTo>
                    <a:cubicBezTo>
                      <a:pt x="7" y="79"/>
                      <a:pt x="7" y="81"/>
                      <a:pt x="7" y="83"/>
                    </a:cubicBezTo>
                    <a:cubicBezTo>
                      <a:pt x="7" y="88"/>
                      <a:pt x="8" y="93"/>
                      <a:pt x="8" y="98"/>
                    </a:cubicBezTo>
                    <a:cubicBezTo>
                      <a:pt x="8" y="101"/>
                      <a:pt x="9" y="105"/>
                      <a:pt x="9" y="108"/>
                    </a:cubicBezTo>
                    <a:cubicBezTo>
                      <a:pt x="9" y="111"/>
                      <a:pt x="9" y="115"/>
                      <a:pt x="10" y="118"/>
                    </a:cubicBezTo>
                    <a:cubicBezTo>
                      <a:pt x="10" y="122"/>
                      <a:pt x="10" y="127"/>
                      <a:pt x="11" y="131"/>
                    </a:cubicBezTo>
                    <a:cubicBezTo>
                      <a:pt x="11" y="133"/>
                      <a:pt x="11" y="135"/>
                      <a:pt x="11" y="137"/>
                    </a:cubicBezTo>
                    <a:cubicBezTo>
                      <a:pt x="11" y="138"/>
                      <a:pt x="12" y="139"/>
                      <a:pt x="12" y="141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6"/>
                      <a:pt x="11" y="147"/>
                      <a:pt x="10" y="147"/>
                    </a:cubicBezTo>
                    <a:cubicBezTo>
                      <a:pt x="9" y="147"/>
                      <a:pt x="8" y="146"/>
                      <a:pt x="7" y="145"/>
                    </a:cubicBezTo>
                    <a:cubicBezTo>
                      <a:pt x="7" y="144"/>
                      <a:pt x="7" y="142"/>
                      <a:pt x="7" y="140"/>
                    </a:cubicBezTo>
                    <a:cubicBezTo>
                      <a:pt x="7" y="136"/>
                      <a:pt x="6" y="131"/>
                      <a:pt x="6" y="127"/>
                    </a:cubicBezTo>
                    <a:cubicBezTo>
                      <a:pt x="6" y="123"/>
                      <a:pt x="6" y="119"/>
                      <a:pt x="5" y="115"/>
                    </a:cubicBezTo>
                    <a:cubicBezTo>
                      <a:pt x="5" y="103"/>
                      <a:pt x="4" y="91"/>
                      <a:pt x="3" y="79"/>
                    </a:cubicBezTo>
                    <a:cubicBezTo>
                      <a:pt x="3" y="73"/>
                      <a:pt x="2" y="67"/>
                      <a:pt x="2" y="61"/>
                    </a:cubicBezTo>
                    <a:cubicBezTo>
                      <a:pt x="2" y="55"/>
                      <a:pt x="1" y="49"/>
                      <a:pt x="1" y="42"/>
                    </a:cubicBezTo>
                    <a:cubicBezTo>
                      <a:pt x="1" y="41"/>
                      <a:pt x="1" y="40"/>
                      <a:pt x="0" y="39"/>
                    </a:cubicBezTo>
                    <a:cubicBezTo>
                      <a:pt x="0" y="36"/>
                      <a:pt x="0" y="36"/>
                      <a:pt x="3" y="35"/>
                    </a:cubicBezTo>
                    <a:cubicBezTo>
                      <a:pt x="5" y="34"/>
                      <a:pt x="7" y="34"/>
                      <a:pt x="9" y="33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2" y="33"/>
                      <a:pt x="14" y="33"/>
                      <a:pt x="15" y="32"/>
                    </a:cubicBezTo>
                    <a:cubicBezTo>
                      <a:pt x="18" y="32"/>
                      <a:pt x="19" y="30"/>
                      <a:pt x="21" y="28"/>
                    </a:cubicBezTo>
                    <a:cubicBezTo>
                      <a:pt x="22" y="26"/>
                      <a:pt x="25" y="24"/>
                      <a:pt x="27" y="22"/>
                    </a:cubicBezTo>
                    <a:cubicBezTo>
                      <a:pt x="28" y="21"/>
                      <a:pt x="30" y="20"/>
                      <a:pt x="32" y="20"/>
                    </a:cubicBezTo>
                    <a:cubicBezTo>
                      <a:pt x="34" y="19"/>
                      <a:pt x="36" y="18"/>
                      <a:pt x="38" y="18"/>
                    </a:cubicBezTo>
                    <a:cubicBezTo>
                      <a:pt x="39" y="18"/>
                      <a:pt x="40" y="18"/>
                      <a:pt x="41" y="18"/>
                    </a:cubicBezTo>
                    <a:cubicBezTo>
                      <a:pt x="43" y="17"/>
                      <a:pt x="46" y="16"/>
                      <a:pt x="48" y="15"/>
                    </a:cubicBezTo>
                    <a:cubicBezTo>
                      <a:pt x="50" y="13"/>
                      <a:pt x="51" y="11"/>
                      <a:pt x="52" y="9"/>
                    </a:cubicBezTo>
                    <a:cubicBezTo>
                      <a:pt x="54" y="7"/>
                      <a:pt x="55" y="5"/>
                      <a:pt x="56" y="3"/>
                    </a:cubicBezTo>
                    <a:cubicBezTo>
                      <a:pt x="57" y="3"/>
                      <a:pt x="58" y="3"/>
                      <a:pt x="59" y="3"/>
                    </a:cubicBezTo>
                    <a:cubicBezTo>
                      <a:pt x="63" y="1"/>
                      <a:pt x="66" y="0"/>
                      <a:pt x="71" y="1"/>
                    </a:cubicBezTo>
                    <a:cubicBezTo>
                      <a:pt x="73" y="1"/>
                      <a:pt x="75" y="1"/>
                      <a:pt x="77" y="3"/>
                    </a:cubicBezTo>
                    <a:cubicBezTo>
                      <a:pt x="80" y="5"/>
                      <a:pt x="81" y="7"/>
                      <a:pt x="83" y="9"/>
                    </a:cubicBezTo>
                    <a:cubicBezTo>
                      <a:pt x="84" y="12"/>
                      <a:pt x="85" y="15"/>
                      <a:pt x="87" y="17"/>
                    </a:cubicBezTo>
                    <a:cubicBezTo>
                      <a:pt x="88" y="18"/>
                      <a:pt x="89" y="18"/>
                      <a:pt x="90" y="19"/>
                    </a:cubicBezTo>
                    <a:cubicBezTo>
                      <a:pt x="91" y="19"/>
                      <a:pt x="93" y="19"/>
                      <a:pt x="95" y="19"/>
                    </a:cubicBezTo>
                    <a:cubicBezTo>
                      <a:pt x="98" y="20"/>
                      <a:pt x="101" y="20"/>
                      <a:pt x="104" y="21"/>
                    </a:cubicBezTo>
                    <a:cubicBezTo>
                      <a:pt x="108" y="23"/>
                      <a:pt x="112" y="25"/>
                      <a:pt x="115" y="29"/>
                    </a:cubicBezTo>
                    <a:cubicBezTo>
                      <a:pt x="115" y="29"/>
                      <a:pt x="115" y="30"/>
                      <a:pt x="116" y="30"/>
                    </a:cubicBezTo>
                    <a:cubicBezTo>
                      <a:pt x="118" y="30"/>
                      <a:pt x="121" y="30"/>
                      <a:pt x="123" y="30"/>
                    </a:cubicBezTo>
                    <a:cubicBezTo>
                      <a:pt x="126" y="30"/>
                      <a:pt x="130" y="31"/>
                      <a:pt x="133" y="30"/>
                    </a:cubicBezTo>
                    <a:cubicBezTo>
                      <a:pt x="135" y="30"/>
                      <a:pt x="137" y="31"/>
                      <a:pt x="138" y="32"/>
                    </a:cubicBezTo>
                    <a:cubicBezTo>
                      <a:pt x="139" y="32"/>
                      <a:pt x="140" y="33"/>
                      <a:pt x="140" y="34"/>
                    </a:cubicBezTo>
                    <a:cubicBezTo>
                      <a:pt x="140" y="35"/>
                      <a:pt x="140" y="36"/>
                      <a:pt x="139" y="36"/>
                    </a:cubicBezTo>
                    <a:cubicBezTo>
                      <a:pt x="139" y="37"/>
                      <a:pt x="138" y="36"/>
                      <a:pt x="137" y="36"/>
                    </a:cubicBezTo>
                    <a:cubicBezTo>
                      <a:pt x="134" y="36"/>
                      <a:pt x="131" y="35"/>
                      <a:pt x="127" y="35"/>
                    </a:cubicBezTo>
                    <a:cubicBezTo>
                      <a:pt x="124" y="35"/>
                      <a:pt x="121" y="35"/>
                      <a:pt x="118" y="35"/>
                    </a:cubicBezTo>
                    <a:close/>
                    <a:moveTo>
                      <a:pt x="116" y="45"/>
                    </a:moveTo>
                    <a:cubicBezTo>
                      <a:pt x="116" y="44"/>
                      <a:pt x="115" y="43"/>
                      <a:pt x="115" y="41"/>
                    </a:cubicBezTo>
                    <a:cubicBezTo>
                      <a:pt x="115" y="41"/>
                      <a:pt x="114" y="40"/>
                      <a:pt x="114" y="39"/>
                    </a:cubicBezTo>
                    <a:cubicBezTo>
                      <a:pt x="113" y="36"/>
                      <a:pt x="112" y="33"/>
                      <a:pt x="109" y="30"/>
                    </a:cubicBezTo>
                    <a:cubicBezTo>
                      <a:pt x="108" y="29"/>
                      <a:pt x="106" y="29"/>
                      <a:pt x="104" y="28"/>
                    </a:cubicBezTo>
                    <a:cubicBezTo>
                      <a:pt x="100" y="25"/>
                      <a:pt x="96" y="25"/>
                      <a:pt x="92" y="24"/>
                    </a:cubicBezTo>
                    <a:cubicBezTo>
                      <a:pt x="91" y="24"/>
                      <a:pt x="90" y="25"/>
                      <a:pt x="90" y="25"/>
                    </a:cubicBezTo>
                    <a:cubicBezTo>
                      <a:pt x="88" y="25"/>
                      <a:pt x="87" y="25"/>
                      <a:pt x="86" y="25"/>
                    </a:cubicBezTo>
                    <a:cubicBezTo>
                      <a:pt x="83" y="25"/>
                      <a:pt x="81" y="24"/>
                      <a:pt x="81" y="21"/>
                    </a:cubicBezTo>
                    <a:cubicBezTo>
                      <a:pt x="80" y="18"/>
                      <a:pt x="80" y="16"/>
                      <a:pt x="79" y="14"/>
                    </a:cubicBezTo>
                    <a:cubicBezTo>
                      <a:pt x="79" y="12"/>
                      <a:pt x="77" y="10"/>
                      <a:pt x="76" y="10"/>
                    </a:cubicBezTo>
                    <a:cubicBezTo>
                      <a:pt x="75" y="9"/>
                      <a:pt x="75" y="9"/>
                      <a:pt x="74" y="9"/>
                    </a:cubicBezTo>
                    <a:cubicBezTo>
                      <a:pt x="70" y="6"/>
                      <a:pt x="65" y="5"/>
                      <a:pt x="60" y="8"/>
                    </a:cubicBezTo>
                    <a:cubicBezTo>
                      <a:pt x="58" y="9"/>
                      <a:pt x="56" y="11"/>
                      <a:pt x="55" y="14"/>
                    </a:cubicBezTo>
                    <a:cubicBezTo>
                      <a:pt x="54" y="17"/>
                      <a:pt x="52" y="20"/>
                      <a:pt x="49" y="23"/>
                    </a:cubicBezTo>
                    <a:cubicBezTo>
                      <a:pt x="48" y="25"/>
                      <a:pt x="47" y="25"/>
                      <a:pt x="45" y="24"/>
                    </a:cubicBezTo>
                    <a:cubicBezTo>
                      <a:pt x="44" y="23"/>
                      <a:pt x="43" y="23"/>
                      <a:pt x="43" y="23"/>
                    </a:cubicBezTo>
                    <a:cubicBezTo>
                      <a:pt x="41" y="23"/>
                      <a:pt x="39" y="23"/>
                      <a:pt x="37" y="24"/>
                    </a:cubicBezTo>
                    <a:cubicBezTo>
                      <a:pt x="35" y="24"/>
                      <a:pt x="33" y="24"/>
                      <a:pt x="31" y="26"/>
                    </a:cubicBezTo>
                    <a:cubicBezTo>
                      <a:pt x="30" y="27"/>
                      <a:pt x="29" y="28"/>
                      <a:pt x="28" y="29"/>
                    </a:cubicBezTo>
                    <a:cubicBezTo>
                      <a:pt x="24" y="31"/>
                      <a:pt x="21" y="35"/>
                      <a:pt x="20" y="39"/>
                    </a:cubicBezTo>
                    <a:cubicBezTo>
                      <a:pt x="19" y="41"/>
                      <a:pt x="19" y="43"/>
                      <a:pt x="18" y="44"/>
                    </a:cubicBezTo>
                    <a:cubicBezTo>
                      <a:pt x="18" y="44"/>
                      <a:pt x="19" y="44"/>
                      <a:pt x="19" y="45"/>
                    </a:cubicBezTo>
                    <a:cubicBezTo>
                      <a:pt x="20" y="43"/>
                      <a:pt x="21" y="43"/>
                      <a:pt x="23" y="43"/>
                    </a:cubicBezTo>
                    <a:cubicBezTo>
                      <a:pt x="27" y="44"/>
                      <a:pt x="32" y="45"/>
                      <a:pt x="37" y="45"/>
                    </a:cubicBezTo>
                    <a:cubicBezTo>
                      <a:pt x="42" y="46"/>
                      <a:pt x="47" y="46"/>
                      <a:pt x="52" y="47"/>
                    </a:cubicBezTo>
                    <a:cubicBezTo>
                      <a:pt x="56" y="47"/>
                      <a:pt x="60" y="47"/>
                      <a:pt x="64" y="47"/>
                    </a:cubicBezTo>
                    <a:cubicBezTo>
                      <a:pt x="71" y="46"/>
                      <a:pt x="78" y="46"/>
                      <a:pt x="84" y="46"/>
                    </a:cubicBezTo>
                    <a:cubicBezTo>
                      <a:pt x="85" y="46"/>
                      <a:pt x="86" y="46"/>
                      <a:pt x="87" y="46"/>
                    </a:cubicBezTo>
                    <a:cubicBezTo>
                      <a:pt x="90" y="46"/>
                      <a:pt x="92" y="47"/>
                      <a:pt x="95" y="46"/>
                    </a:cubicBezTo>
                    <a:cubicBezTo>
                      <a:pt x="98" y="46"/>
                      <a:pt x="100" y="46"/>
                      <a:pt x="103" y="46"/>
                    </a:cubicBezTo>
                    <a:cubicBezTo>
                      <a:pt x="107" y="46"/>
                      <a:pt x="110" y="46"/>
                      <a:pt x="113" y="45"/>
                    </a:cubicBezTo>
                    <a:cubicBezTo>
                      <a:pt x="114" y="45"/>
                      <a:pt x="115" y="45"/>
                      <a:pt x="116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6" name="Freeform 617"/>
              <p:cNvSpPr>
                <a:spLocks/>
              </p:cNvSpPr>
              <p:nvPr/>
            </p:nvSpPr>
            <p:spPr bwMode="auto">
              <a:xfrm>
                <a:off x="7334250" y="3314701"/>
                <a:ext cx="511175" cy="439738"/>
              </a:xfrm>
              <a:custGeom>
                <a:avLst/>
                <a:gdLst>
                  <a:gd name="T0" fmla="*/ 3 w 130"/>
                  <a:gd name="T1" fmla="*/ 111 h 112"/>
                  <a:gd name="T2" fmla="*/ 3 w 130"/>
                  <a:gd name="T3" fmla="*/ 111 h 112"/>
                  <a:gd name="T4" fmla="*/ 2 w 130"/>
                  <a:gd name="T5" fmla="*/ 106 h 112"/>
                  <a:gd name="T6" fmla="*/ 4 w 130"/>
                  <a:gd name="T7" fmla="*/ 106 h 112"/>
                  <a:gd name="T8" fmla="*/ 15 w 130"/>
                  <a:gd name="T9" fmla="*/ 107 h 112"/>
                  <a:gd name="T10" fmla="*/ 25 w 130"/>
                  <a:gd name="T11" fmla="*/ 107 h 112"/>
                  <a:gd name="T12" fmla="*/ 34 w 130"/>
                  <a:gd name="T13" fmla="*/ 107 h 112"/>
                  <a:gd name="T14" fmla="*/ 45 w 130"/>
                  <a:gd name="T15" fmla="*/ 108 h 112"/>
                  <a:gd name="T16" fmla="*/ 54 w 130"/>
                  <a:gd name="T17" fmla="*/ 108 h 112"/>
                  <a:gd name="T18" fmla="*/ 59 w 130"/>
                  <a:gd name="T19" fmla="*/ 107 h 112"/>
                  <a:gd name="T20" fmla="*/ 75 w 130"/>
                  <a:gd name="T21" fmla="*/ 106 h 112"/>
                  <a:gd name="T22" fmla="*/ 83 w 130"/>
                  <a:gd name="T23" fmla="*/ 105 h 112"/>
                  <a:gd name="T24" fmla="*/ 94 w 130"/>
                  <a:gd name="T25" fmla="*/ 104 h 112"/>
                  <a:gd name="T26" fmla="*/ 110 w 130"/>
                  <a:gd name="T27" fmla="*/ 104 h 112"/>
                  <a:gd name="T28" fmla="*/ 118 w 130"/>
                  <a:gd name="T29" fmla="*/ 104 h 112"/>
                  <a:gd name="T30" fmla="*/ 121 w 130"/>
                  <a:gd name="T31" fmla="*/ 102 h 112"/>
                  <a:gd name="T32" fmla="*/ 123 w 130"/>
                  <a:gd name="T33" fmla="*/ 87 h 112"/>
                  <a:gd name="T34" fmla="*/ 124 w 130"/>
                  <a:gd name="T35" fmla="*/ 81 h 112"/>
                  <a:gd name="T36" fmla="*/ 125 w 130"/>
                  <a:gd name="T37" fmla="*/ 68 h 112"/>
                  <a:gd name="T38" fmla="*/ 126 w 130"/>
                  <a:gd name="T39" fmla="*/ 55 h 112"/>
                  <a:gd name="T40" fmla="*/ 126 w 130"/>
                  <a:gd name="T41" fmla="*/ 37 h 112"/>
                  <a:gd name="T42" fmla="*/ 126 w 130"/>
                  <a:gd name="T43" fmla="*/ 27 h 112"/>
                  <a:gd name="T44" fmla="*/ 126 w 130"/>
                  <a:gd name="T45" fmla="*/ 16 h 112"/>
                  <a:gd name="T46" fmla="*/ 127 w 130"/>
                  <a:gd name="T47" fmla="*/ 1 h 112"/>
                  <a:gd name="T48" fmla="*/ 128 w 130"/>
                  <a:gd name="T49" fmla="*/ 0 h 112"/>
                  <a:gd name="T50" fmla="*/ 129 w 130"/>
                  <a:gd name="T51" fmla="*/ 1 h 112"/>
                  <a:gd name="T52" fmla="*/ 130 w 130"/>
                  <a:gd name="T53" fmla="*/ 3 h 112"/>
                  <a:gd name="T54" fmla="*/ 130 w 130"/>
                  <a:gd name="T55" fmla="*/ 12 h 112"/>
                  <a:gd name="T56" fmla="*/ 130 w 130"/>
                  <a:gd name="T57" fmla="*/ 23 h 112"/>
                  <a:gd name="T58" fmla="*/ 130 w 130"/>
                  <a:gd name="T59" fmla="*/ 34 h 112"/>
                  <a:gd name="T60" fmla="*/ 130 w 130"/>
                  <a:gd name="T61" fmla="*/ 46 h 112"/>
                  <a:gd name="T62" fmla="*/ 129 w 130"/>
                  <a:gd name="T63" fmla="*/ 63 h 112"/>
                  <a:gd name="T64" fmla="*/ 127 w 130"/>
                  <a:gd name="T65" fmla="*/ 82 h 112"/>
                  <a:gd name="T66" fmla="*/ 127 w 130"/>
                  <a:gd name="T67" fmla="*/ 92 h 112"/>
                  <a:gd name="T68" fmla="*/ 127 w 130"/>
                  <a:gd name="T69" fmla="*/ 96 h 112"/>
                  <a:gd name="T70" fmla="*/ 127 w 130"/>
                  <a:gd name="T71" fmla="*/ 102 h 112"/>
                  <a:gd name="T72" fmla="*/ 125 w 130"/>
                  <a:gd name="T73" fmla="*/ 108 h 112"/>
                  <a:gd name="T74" fmla="*/ 123 w 130"/>
                  <a:gd name="T75" fmla="*/ 110 h 112"/>
                  <a:gd name="T76" fmla="*/ 112 w 130"/>
                  <a:gd name="T77" fmla="*/ 108 h 112"/>
                  <a:gd name="T78" fmla="*/ 100 w 130"/>
                  <a:gd name="T79" fmla="*/ 108 h 112"/>
                  <a:gd name="T80" fmla="*/ 85 w 130"/>
                  <a:gd name="T81" fmla="*/ 109 h 112"/>
                  <a:gd name="T82" fmla="*/ 76 w 130"/>
                  <a:gd name="T83" fmla="*/ 109 h 112"/>
                  <a:gd name="T84" fmla="*/ 58 w 130"/>
                  <a:gd name="T85" fmla="*/ 111 h 112"/>
                  <a:gd name="T86" fmla="*/ 38 w 130"/>
                  <a:gd name="T87" fmla="*/ 111 h 112"/>
                  <a:gd name="T88" fmla="*/ 28 w 130"/>
                  <a:gd name="T89" fmla="*/ 112 h 112"/>
                  <a:gd name="T90" fmla="*/ 17 w 130"/>
                  <a:gd name="T91" fmla="*/ 111 h 112"/>
                  <a:gd name="T92" fmla="*/ 8 w 130"/>
                  <a:gd name="T93" fmla="*/ 112 h 112"/>
                  <a:gd name="T94" fmla="*/ 6 w 130"/>
                  <a:gd name="T95" fmla="*/ 112 h 112"/>
                  <a:gd name="T96" fmla="*/ 3 w 130"/>
                  <a:gd name="T97" fmla="*/ 11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0" h="112">
                    <a:moveTo>
                      <a:pt x="3" y="111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1" y="109"/>
                      <a:pt x="0" y="108"/>
                      <a:pt x="2" y="106"/>
                    </a:cubicBezTo>
                    <a:cubicBezTo>
                      <a:pt x="2" y="106"/>
                      <a:pt x="3" y="106"/>
                      <a:pt x="4" y="106"/>
                    </a:cubicBezTo>
                    <a:cubicBezTo>
                      <a:pt x="8" y="106"/>
                      <a:pt x="11" y="107"/>
                      <a:pt x="15" y="107"/>
                    </a:cubicBezTo>
                    <a:cubicBezTo>
                      <a:pt x="18" y="107"/>
                      <a:pt x="22" y="107"/>
                      <a:pt x="25" y="107"/>
                    </a:cubicBezTo>
                    <a:cubicBezTo>
                      <a:pt x="28" y="107"/>
                      <a:pt x="31" y="107"/>
                      <a:pt x="34" y="107"/>
                    </a:cubicBezTo>
                    <a:cubicBezTo>
                      <a:pt x="38" y="107"/>
                      <a:pt x="41" y="108"/>
                      <a:pt x="45" y="108"/>
                    </a:cubicBezTo>
                    <a:cubicBezTo>
                      <a:pt x="48" y="108"/>
                      <a:pt x="51" y="108"/>
                      <a:pt x="54" y="108"/>
                    </a:cubicBezTo>
                    <a:cubicBezTo>
                      <a:pt x="56" y="108"/>
                      <a:pt x="57" y="108"/>
                      <a:pt x="59" y="107"/>
                    </a:cubicBezTo>
                    <a:cubicBezTo>
                      <a:pt x="64" y="107"/>
                      <a:pt x="70" y="106"/>
                      <a:pt x="75" y="106"/>
                    </a:cubicBezTo>
                    <a:cubicBezTo>
                      <a:pt x="77" y="105"/>
                      <a:pt x="80" y="105"/>
                      <a:pt x="83" y="105"/>
                    </a:cubicBezTo>
                    <a:cubicBezTo>
                      <a:pt x="86" y="105"/>
                      <a:pt x="90" y="105"/>
                      <a:pt x="94" y="104"/>
                    </a:cubicBezTo>
                    <a:cubicBezTo>
                      <a:pt x="99" y="104"/>
                      <a:pt x="105" y="104"/>
                      <a:pt x="110" y="104"/>
                    </a:cubicBezTo>
                    <a:cubicBezTo>
                      <a:pt x="113" y="104"/>
                      <a:pt x="116" y="105"/>
                      <a:pt x="118" y="104"/>
                    </a:cubicBezTo>
                    <a:cubicBezTo>
                      <a:pt x="120" y="104"/>
                      <a:pt x="121" y="104"/>
                      <a:pt x="121" y="102"/>
                    </a:cubicBezTo>
                    <a:cubicBezTo>
                      <a:pt x="122" y="97"/>
                      <a:pt x="123" y="92"/>
                      <a:pt x="123" y="87"/>
                    </a:cubicBezTo>
                    <a:cubicBezTo>
                      <a:pt x="124" y="85"/>
                      <a:pt x="124" y="83"/>
                      <a:pt x="124" y="81"/>
                    </a:cubicBezTo>
                    <a:cubicBezTo>
                      <a:pt x="124" y="77"/>
                      <a:pt x="125" y="72"/>
                      <a:pt x="125" y="68"/>
                    </a:cubicBezTo>
                    <a:cubicBezTo>
                      <a:pt x="126" y="64"/>
                      <a:pt x="126" y="59"/>
                      <a:pt x="126" y="55"/>
                    </a:cubicBezTo>
                    <a:cubicBezTo>
                      <a:pt x="126" y="49"/>
                      <a:pt x="126" y="43"/>
                      <a:pt x="126" y="37"/>
                    </a:cubicBezTo>
                    <a:cubicBezTo>
                      <a:pt x="126" y="34"/>
                      <a:pt x="126" y="30"/>
                      <a:pt x="126" y="27"/>
                    </a:cubicBezTo>
                    <a:cubicBezTo>
                      <a:pt x="126" y="23"/>
                      <a:pt x="126" y="19"/>
                      <a:pt x="126" y="16"/>
                    </a:cubicBezTo>
                    <a:cubicBezTo>
                      <a:pt x="126" y="11"/>
                      <a:pt x="125" y="6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8" y="0"/>
                      <a:pt x="129" y="0"/>
                      <a:pt x="129" y="1"/>
                    </a:cubicBezTo>
                    <a:cubicBezTo>
                      <a:pt x="130" y="1"/>
                      <a:pt x="130" y="2"/>
                      <a:pt x="130" y="3"/>
                    </a:cubicBezTo>
                    <a:cubicBezTo>
                      <a:pt x="130" y="6"/>
                      <a:pt x="130" y="9"/>
                      <a:pt x="130" y="12"/>
                    </a:cubicBezTo>
                    <a:cubicBezTo>
                      <a:pt x="130" y="16"/>
                      <a:pt x="130" y="20"/>
                      <a:pt x="130" y="23"/>
                    </a:cubicBezTo>
                    <a:cubicBezTo>
                      <a:pt x="130" y="27"/>
                      <a:pt x="130" y="30"/>
                      <a:pt x="130" y="34"/>
                    </a:cubicBezTo>
                    <a:cubicBezTo>
                      <a:pt x="130" y="38"/>
                      <a:pt x="129" y="42"/>
                      <a:pt x="130" y="46"/>
                    </a:cubicBezTo>
                    <a:cubicBezTo>
                      <a:pt x="130" y="52"/>
                      <a:pt x="129" y="57"/>
                      <a:pt x="129" y="63"/>
                    </a:cubicBezTo>
                    <a:cubicBezTo>
                      <a:pt x="129" y="69"/>
                      <a:pt x="128" y="76"/>
                      <a:pt x="127" y="82"/>
                    </a:cubicBezTo>
                    <a:cubicBezTo>
                      <a:pt x="127" y="85"/>
                      <a:pt x="127" y="88"/>
                      <a:pt x="127" y="92"/>
                    </a:cubicBezTo>
                    <a:cubicBezTo>
                      <a:pt x="127" y="93"/>
                      <a:pt x="127" y="94"/>
                      <a:pt x="127" y="96"/>
                    </a:cubicBezTo>
                    <a:cubicBezTo>
                      <a:pt x="126" y="98"/>
                      <a:pt x="126" y="100"/>
                      <a:pt x="127" y="102"/>
                    </a:cubicBezTo>
                    <a:cubicBezTo>
                      <a:pt x="128" y="104"/>
                      <a:pt x="127" y="107"/>
                      <a:pt x="125" y="108"/>
                    </a:cubicBezTo>
                    <a:cubicBezTo>
                      <a:pt x="125" y="109"/>
                      <a:pt x="124" y="109"/>
                      <a:pt x="123" y="110"/>
                    </a:cubicBezTo>
                    <a:cubicBezTo>
                      <a:pt x="120" y="109"/>
                      <a:pt x="116" y="108"/>
                      <a:pt x="112" y="108"/>
                    </a:cubicBezTo>
                    <a:cubicBezTo>
                      <a:pt x="108" y="108"/>
                      <a:pt x="104" y="107"/>
                      <a:pt x="100" y="108"/>
                    </a:cubicBezTo>
                    <a:cubicBezTo>
                      <a:pt x="95" y="108"/>
                      <a:pt x="90" y="108"/>
                      <a:pt x="85" y="109"/>
                    </a:cubicBezTo>
                    <a:cubicBezTo>
                      <a:pt x="82" y="109"/>
                      <a:pt x="79" y="109"/>
                      <a:pt x="76" y="109"/>
                    </a:cubicBezTo>
                    <a:cubicBezTo>
                      <a:pt x="70" y="110"/>
                      <a:pt x="64" y="110"/>
                      <a:pt x="58" y="111"/>
                    </a:cubicBezTo>
                    <a:cubicBezTo>
                      <a:pt x="52" y="111"/>
                      <a:pt x="45" y="112"/>
                      <a:pt x="38" y="111"/>
                    </a:cubicBezTo>
                    <a:cubicBezTo>
                      <a:pt x="35" y="111"/>
                      <a:pt x="31" y="112"/>
                      <a:pt x="28" y="112"/>
                    </a:cubicBezTo>
                    <a:cubicBezTo>
                      <a:pt x="24" y="112"/>
                      <a:pt x="20" y="111"/>
                      <a:pt x="17" y="111"/>
                    </a:cubicBezTo>
                    <a:cubicBezTo>
                      <a:pt x="14" y="111"/>
                      <a:pt x="11" y="112"/>
                      <a:pt x="8" y="112"/>
                    </a:cubicBezTo>
                    <a:cubicBezTo>
                      <a:pt x="7" y="112"/>
                      <a:pt x="6" y="112"/>
                      <a:pt x="6" y="112"/>
                    </a:cubicBezTo>
                    <a:cubicBezTo>
                      <a:pt x="5" y="111"/>
                      <a:pt x="4" y="111"/>
                      <a:pt x="3" y="1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7" name="Freeform 618"/>
              <p:cNvSpPr>
                <a:spLocks noEditPoints="1"/>
              </p:cNvSpPr>
              <p:nvPr/>
            </p:nvSpPr>
            <p:spPr bwMode="auto">
              <a:xfrm>
                <a:off x="7381875" y="3376613"/>
                <a:ext cx="169863" cy="130175"/>
              </a:xfrm>
              <a:custGeom>
                <a:avLst/>
                <a:gdLst>
                  <a:gd name="T0" fmla="*/ 3 w 43"/>
                  <a:gd name="T1" fmla="*/ 12 h 33"/>
                  <a:gd name="T2" fmla="*/ 7 w 43"/>
                  <a:gd name="T3" fmla="*/ 26 h 33"/>
                  <a:gd name="T4" fmla="*/ 6 w 43"/>
                  <a:gd name="T5" fmla="*/ 28 h 33"/>
                  <a:gd name="T6" fmla="*/ 2 w 43"/>
                  <a:gd name="T7" fmla="*/ 23 h 33"/>
                  <a:gd name="T8" fmla="*/ 0 w 43"/>
                  <a:gd name="T9" fmla="*/ 16 h 33"/>
                  <a:gd name="T10" fmla="*/ 1 w 43"/>
                  <a:gd name="T11" fmla="*/ 8 h 33"/>
                  <a:gd name="T12" fmla="*/ 4 w 43"/>
                  <a:gd name="T13" fmla="*/ 7 h 33"/>
                  <a:gd name="T14" fmla="*/ 10 w 43"/>
                  <a:gd name="T15" fmla="*/ 7 h 33"/>
                  <a:gd name="T16" fmla="*/ 18 w 43"/>
                  <a:gd name="T17" fmla="*/ 5 h 33"/>
                  <a:gd name="T18" fmla="*/ 25 w 43"/>
                  <a:gd name="T19" fmla="*/ 4 h 33"/>
                  <a:gd name="T20" fmla="*/ 27 w 43"/>
                  <a:gd name="T21" fmla="*/ 7 h 33"/>
                  <a:gd name="T22" fmla="*/ 28 w 43"/>
                  <a:gd name="T23" fmla="*/ 7 h 33"/>
                  <a:gd name="T24" fmla="*/ 33 w 43"/>
                  <a:gd name="T25" fmla="*/ 2 h 33"/>
                  <a:gd name="T26" fmla="*/ 37 w 43"/>
                  <a:gd name="T27" fmla="*/ 0 h 33"/>
                  <a:gd name="T28" fmla="*/ 40 w 43"/>
                  <a:gd name="T29" fmla="*/ 0 h 33"/>
                  <a:gd name="T30" fmla="*/ 43 w 43"/>
                  <a:gd name="T31" fmla="*/ 3 h 33"/>
                  <a:gd name="T32" fmla="*/ 41 w 43"/>
                  <a:gd name="T33" fmla="*/ 5 h 33"/>
                  <a:gd name="T34" fmla="*/ 39 w 43"/>
                  <a:gd name="T35" fmla="*/ 6 h 33"/>
                  <a:gd name="T36" fmla="*/ 35 w 43"/>
                  <a:gd name="T37" fmla="*/ 9 h 33"/>
                  <a:gd name="T38" fmla="*/ 28 w 43"/>
                  <a:gd name="T39" fmla="*/ 14 h 33"/>
                  <a:gd name="T40" fmla="*/ 28 w 43"/>
                  <a:gd name="T41" fmla="*/ 15 h 33"/>
                  <a:gd name="T42" fmla="*/ 30 w 43"/>
                  <a:gd name="T43" fmla="*/ 27 h 33"/>
                  <a:gd name="T44" fmla="*/ 27 w 43"/>
                  <a:gd name="T45" fmla="*/ 33 h 33"/>
                  <a:gd name="T46" fmla="*/ 23 w 43"/>
                  <a:gd name="T47" fmla="*/ 32 h 33"/>
                  <a:gd name="T48" fmla="*/ 16 w 43"/>
                  <a:gd name="T49" fmla="*/ 31 h 33"/>
                  <a:gd name="T50" fmla="*/ 16 w 43"/>
                  <a:gd name="T51" fmla="*/ 31 h 33"/>
                  <a:gd name="T52" fmla="*/ 10 w 43"/>
                  <a:gd name="T53" fmla="*/ 32 h 33"/>
                  <a:gd name="T54" fmla="*/ 8 w 43"/>
                  <a:gd name="T55" fmla="*/ 31 h 33"/>
                  <a:gd name="T56" fmla="*/ 7 w 43"/>
                  <a:gd name="T57" fmla="*/ 27 h 33"/>
                  <a:gd name="T58" fmla="*/ 10 w 43"/>
                  <a:gd name="T59" fmla="*/ 25 h 33"/>
                  <a:gd name="T60" fmla="*/ 12 w 43"/>
                  <a:gd name="T61" fmla="*/ 25 h 33"/>
                  <a:gd name="T62" fmla="*/ 11 w 43"/>
                  <a:gd name="T63" fmla="*/ 21 h 33"/>
                  <a:gd name="T64" fmla="*/ 9 w 43"/>
                  <a:gd name="T65" fmla="*/ 17 h 33"/>
                  <a:gd name="T66" fmla="*/ 10 w 43"/>
                  <a:gd name="T67" fmla="*/ 14 h 33"/>
                  <a:gd name="T68" fmla="*/ 14 w 43"/>
                  <a:gd name="T69" fmla="*/ 14 h 33"/>
                  <a:gd name="T70" fmla="*/ 16 w 43"/>
                  <a:gd name="T71" fmla="*/ 16 h 33"/>
                  <a:gd name="T72" fmla="*/ 20 w 43"/>
                  <a:gd name="T73" fmla="*/ 13 h 33"/>
                  <a:gd name="T74" fmla="*/ 22 w 43"/>
                  <a:gd name="T75" fmla="*/ 12 h 33"/>
                  <a:gd name="T76" fmla="*/ 23 w 43"/>
                  <a:gd name="T77" fmla="*/ 11 h 33"/>
                  <a:gd name="T78" fmla="*/ 21 w 43"/>
                  <a:gd name="T79" fmla="*/ 10 h 33"/>
                  <a:gd name="T80" fmla="*/ 11 w 43"/>
                  <a:gd name="T81" fmla="*/ 12 h 33"/>
                  <a:gd name="T82" fmla="*/ 3 w 43"/>
                  <a:gd name="T83" fmla="*/ 12 h 33"/>
                  <a:gd name="T84" fmla="*/ 25 w 43"/>
                  <a:gd name="T85" fmla="*/ 27 h 33"/>
                  <a:gd name="T86" fmla="*/ 24 w 43"/>
                  <a:gd name="T87" fmla="*/ 18 h 33"/>
                  <a:gd name="T88" fmla="*/ 17 w 43"/>
                  <a:gd name="T89" fmla="*/ 25 h 33"/>
                  <a:gd name="T90" fmla="*/ 17 w 43"/>
                  <a:gd name="T91" fmla="*/ 25 h 33"/>
                  <a:gd name="T92" fmla="*/ 20 w 43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" h="33">
                    <a:moveTo>
                      <a:pt x="3" y="12"/>
                    </a:moveTo>
                    <a:cubicBezTo>
                      <a:pt x="5" y="17"/>
                      <a:pt x="6" y="21"/>
                      <a:pt x="7" y="26"/>
                    </a:cubicBezTo>
                    <a:cubicBezTo>
                      <a:pt x="7" y="26"/>
                      <a:pt x="6" y="27"/>
                      <a:pt x="6" y="28"/>
                    </a:cubicBezTo>
                    <a:cubicBezTo>
                      <a:pt x="3" y="27"/>
                      <a:pt x="2" y="27"/>
                      <a:pt x="2" y="23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3"/>
                      <a:pt x="0" y="10"/>
                      <a:pt x="1" y="8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6" y="6"/>
                      <a:pt x="8" y="7"/>
                      <a:pt x="10" y="7"/>
                    </a:cubicBezTo>
                    <a:cubicBezTo>
                      <a:pt x="12" y="6"/>
                      <a:pt x="15" y="5"/>
                      <a:pt x="18" y="5"/>
                    </a:cubicBezTo>
                    <a:cubicBezTo>
                      <a:pt x="20" y="5"/>
                      <a:pt x="22" y="5"/>
                      <a:pt x="25" y="4"/>
                    </a:cubicBezTo>
                    <a:cubicBezTo>
                      <a:pt x="26" y="4"/>
                      <a:pt x="28" y="4"/>
                      <a:pt x="27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1" y="4"/>
                      <a:pt x="33" y="2"/>
                    </a:cubicBezTo>
                    <a:cubicBezTo>
                      <a:pt x="34" y="1"/>
                      <a:pt x="35" y="1"/>
                      <a:pt x="37" y="0"/>
                    </a:cubicBezTo>
                    <a:cubicBezTo>
                      <a:pt x="38" y="0"/>
                      <a:pt x="39" y="0"/>
                      <a:pt x="40" y="0"/>
                    </a:cubicBezTo>
                    <a:cubicBezTo>
                      <a:pt x="41" y="0"/>
                      <a:pt x="42" y="1"/>
                      <a:pt x="43" y="3"/>
                    </a:cubicBezTo>
                    <a:cubicBezTo>
                      <a:pt x="43" y="4"/>
                      <a:pt x="42" y="4"/>
                      <a:pt x="41" y="5"/>
                    </a:cubicBezTo>
                    <a:cubicBezTo>
                      <a:pt x="41" y="5"/>
                      <a:pt x="40" y="6"/>
                      <a:pt x="39" y="6"/>
                    </a:cubicBezTo>
                    <a:cubicBezTo>
                      <a:pt x="38" y="8"/>
                      <a:pt x="36" y="9"/>
                      <a:pt x="35" y="9"/>
                    </a:cubicBezTo>
                    <a:cubicBezTo>
                      <a:pt x="32" y="10"/>
                      <a:pt x="30" y="12"/>
                      <a:pt x="28" y="14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29" y="19"/>
                      <a:pt x="29" y="23"/>
                      <a:pt x="30" y="27"/>
                    </a:cubicBezTo>
                    <a:cubicBezTo>
                      <a:pt x="30" y="29"/>
                      <a:pt x="29" y="33"/>
                      <a:pt x="27" y="33"/>
                    </a:cubicBezTo>
                    <a:cubicBezTo>
                      <a:pt x="26" y="33"/>
                      <a:pt x="24" y="33"/>
                      <a:pt x="23" y="32"/>
                    </a:cubicBezTo>
                    <a:cubicBezTo>
                      <a:pt x="21" y="31"/>
                      <a:pt x="19" y="30"/>
                      <a:pt x="16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4" y="31"/>
                      <a:pt x="12" y="31"/>
                      <a:pt x="10" y="32"/>
                    </a:cubicBezTo>
                    <a:cubicBezTo>
                      <a:pt x="9" y="32"/>
                      <a:pt x="8" y="31"/>
                      <a:pt x="8" y="31"/>
                    </a:cubicBezTo>
                    <a:cubicBezTo>
                      <a:pt x="7" y="30"/>
                      <a:pt x="7" y="28"/>
                      <a:pt x="7" y="27"/>
                    </a:cubicBezTo>
                    <a:cubicBezTo>
                      <a:pt x="8" y="26"/>
                      <a:pt x="8" y="25"/>
                      <a:pt x="10" y="25"/>
                    </a:cubicBezTo>
                    <a:cubicBezTo>
                      <a:pt x="11" y="26"/>
                      <a:pt x="11" y="25"/>
                      <a:pt x="12" y="25"/>
                    </a:cubicBezTo>
                    <a:cubicBezTo>
                      <a:pt x="11" y="23"/>
                      <a:pt x="11" y="22"/>
                      <a:pt x="11" y="21"/>
                    </a:cubicBezTo>
                    <a:cubicBezTo>
                      <a:pt x="11" y="19"/>
                      <a:pt x="10" y="18"/>
                      <a:pt x="9" y="17"/>
                    </a:cubicBezTo>
                    <a:cubicBezTo>
                      <a:pt x="9" y="16"/>
                      <a:pt x="10" y="14"/>
                      <a:pt x="10" y="14"/>
                    </a:cubicBezTo>
                    <a:cubicBezTo>
                      <a:pt x="11" y="13"/>
                      <a:pt x="13" y="13"/>
                      <a:pt x="14" y="14"/>
                    </a:cubicBezTo>
                    <a:cubicBezTo>
                      <a:pt x="15" y="15"/>
                      <a:pt x="15" y="15"/>
                      <a:pt x="16" y="16"/>
                    </a:cubicBezTo>
                    <a:cubicBezTo>
                      <a:pt x="18" y="15"/>
                      <a:pt x="19" y="14"/>
                      <a:pt x="20" y="13"/>
                    </a:cubicBezTo>
                    <a:cubicBezTo>
                      <a:pt x="21" y="13"/>
                      <a:pt x="21" y="13"/>
                      <a:pt x="22" y="12"/>
                    </a:cubicBezTo>
                    <a:cubicBezTo>
                      <a:pt x="22" y="12"/>
                      <a:pt x="22" y="11"/>
                      <a:pt x="23" y="11"/>
                    </a:cubicBezTo>
                    <a:cubicBezTo>
                      <a:pt x="22" y="11"/>
                      <a:pt x="22" y="10"/>
                      <a:pt x="21" y="10"/>
                    </a:cubicBezTo>
                    <a:cubicBezTo>
                      <a:pt x="18" y="11"/>
                      <a:pt x="14" y="11"/>
                      <a:pt x="11" y="12"/>
                    </a:cubicBezTo>
                    <a:cubicBezTo>
                      <a:pt x="9" y="12"/>
                      <a:pt x="6" y="12"/>
                      <a:pt x="3" y="12"/>
                    </a:cubicBezTo>
                    <a:close/>
                    <a:moveTo>
                      <a:pt x="25" y="27"/>
                    </a:moveTo>
                    <a:cubicBezTo>
                      <a:pt x="24" y="24"/>
                      <a:pt x="24" y="21"/>
                      <a:pt x="24" y="18"/>
                    </a:cubicBezTo>
                    <a:cubicBezTo>
                      <a:pt x="21" y="20"/>
                      <a:pt x="19" y="22"/>
                      <a:pt x="17" y="25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8" y="25"/>
                      <a:pt x="19" y="25"/>
                      <a:pt x="20" y="25"/>
                    </a:cubicBezTo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8" name="Freeform 619"/>
              <p:cNvSpPr>
                <a:spLocks noEditPoints="1"/>
              </p:cNvSpPr>
              <p:nvPr/>
            </p:nvSpPr>
            <p:spPr bwMode="auto">
              <a:xfrm>
                <a:off x="7389813" y="3538538"/>
                <a:ext cx="114300" cy="106363"/>
              </a:xfrm>
              <a:custGeom>
                <a:avLst/>
                <a:gdLst>
                  <a:gd name="T0" fmla="*/ 28 w 29"/>
                  <a:gd name="T1" fmla="*/ 25 h 27"/>
                  <a:gd name="T2" fmla="*/ 20 w 29"/>
                  <a:gd name="T3" fmla="*/ 26 h 27"/>
                  <a:gd name="T4" fmla="*/ 11 w 29"/>
                  <a:gd name="T5" fmla="*/ 27 h 27"/>
                  <a:gd name="T6" fmla="*/ 7 w 29"/>
                  <a:gd name="T7" fmla="*/ 23 h 27"/>
                  <a:gd name="T8" fmla="*/ 3 w 29"/>
                  <a:gd name="T9" fmla="*/ 19 h 27"/>
                  <a:gd name="T10" fmla="*/ 1 w 29"/>
                  <a:gd name="T11" fmla="*/ 9 h 27"/>
                  <a:gd name="T12" fmla="*/ 3 w 29"/>
                  <a:gd name="T13" fmla="*/ 0 h 27"/>
                  <a:gd name="T14" fmla="*/ 5 w 29"/>
                  <a:gd name="T15" fmla="*/ 2 h 27"/>
                  <a:gd name="T16" fmla="*/ 5 w 29"/>
                  <a:gd name="T17" fmla="*/ 1 h 27"/>
                  <a:gd name="T18" fmla="*/ 8 w 29"/>
                  <a:gd name="T19" fmla="*/ 1 h 27"/>
                  <a:gd name="T20" fmla="*/ 21 w 29"/>
                  <a:gd name="T21" fmla="*/ 0 h 27"/>
                  <a:gd name="T22" fmla="*/ 26 w 29"/>
                  <a:gd name="T23" fmla="*/ 4 h 27"/>
                  <a:gd name="T24" fmla="*/ 29 w 29"/>
                  <a:gd name="T25" fmla="*/ 18 h 27"/>
                  <a:gd name="T26" fmla="*/ 28 w 29"/>
                  <a:gd name="T27" fmla="*/ 25 h 27"/>
                  <a:gd name="T28" fmla="*/ 5 w 29"/>
                  <a:gd name="T29" fmla="*/ 6 h 27"/>
                  <a:gd name="T30" fmla="*/ 9 w 29"/>
                  <a:gd name="T31" fmla="*/ 20 h 27"/>
                  <a:gd name="T32" fmla="*/ 23 w 29"/>
                  <a:gd name="T33" fmla="*/ 21 h 27"/>
                  <a:gd name="T34" fmla="*/ 25 w 29"/>
                  <a:gd name="T35" fmla="*/ 21 h 27"/>
                  <a:gd name="T36" fmla="*/ 25 w 29"/>
                  <a:gd name="T37" fmla="*/ 19 h 27"/>
                  <a:gd name="T38" fmla="*/ 24 w 29"/>
                  <a:gd name="T39" fmla="*/ 18 h 27"/>
                  <a:gd name="T40" fmla="*/ 23 w 29"/>
                  <a:gd name="T41" fmla="*/ 10 h 27"/>
                  <a:gd name="T42" fmla="*/ 19 w 29"/>
                  <a:gd name="T43" fmla="*/ 7 h 27"/>
                  <a:gd name="T44" fmla="*/ 12 w 29"/>
                  <a:gd name="T45" fmla="*/ 7 h 27"/>
                  <a:gd name="T46" fmla="*/ 5 w 29"/>
                  <a:gd name="T4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7">
                    <a:moveTo>
                      <a:pt x="28" y="25"/>
                    </a:moveTo>
                    <a:cubicBezTo>
                      <a:pt x="25" y="26"/>
                      <a:pt x="22" y="26"/>
                      <a:pt x="20" y="26"/>
                    </a:cubicBezTo>
                    <a:cubicBezTo>
                      <a:pt x="17" y="26"/>
                      <a:pt x="14" y="27"/>
                      <a:pt x="11" y="27"/>
                    </a:cubicBezTo>
                    <a:cubicBezTo>
                      <a:pt x="8" y="27"/>
                      <a:pt x="7" y="25"/>
                      <a:pt x="7" y="23"/>
                    </a:cubicBezTo>
                    <a:cubicBezTo>
                      <a:pt x="4" y="23"/>
                      <a:pt x="4" y="22"/>
                      <a:pt x="3" y="19"/>
                    </a:cubicBezTo>
                    <a:cubicBezTo>
                      <a:pt x="3" y="16"/>
                      <a:pt x="1" y="12"/>
                      <a:pt x="1" y="9"/>
                    </a:cubicBezTo>
                    <a:cubicBezTo>
                      <a:pt x="1" y="6"/>
                      <a:pt x="0" y="3"/>
                      <a:pt x="3" y="0"/>
                    </a:cubicBezTo>
                    <a:cubicBezTo>
                      <a:pt x="4" y="1"/>
                      <a:pt x="4" y="1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7" y="1"/>
                      <a:pt x="8" y="1"/>
                    </a:cubicBezTo>
                    <a:cubicBezTo>
                      <a:pt x="12" y="1"/>
                      <a:pt x="17" y="2"/>
                      <a:pt x="21" y="0"/>
                    </a:cubicBezTo>
                    <a:cubicBezTo>
                      <a:pt x="23" y="0"/>
                      <a:pt x="26" y="1"/>
                      <a:pt x="26" y="4"/>
                    </a:cubicBezTo>
                    <a:cubicBezTo>
                      <a:pt x="27" y="9"/>
                      <a:pt x="28" y="14"/>
                      <a:pt x="29" y="18"/>
                    </a:cubicBezTo>
                    <a:cubicBezTo>
                      <a:pt x="29" y="21"/>
                      <a:pt x="29" y="23"/>
                      <a:pt x="28" y="25"/>
                    </a:cubicBezTo>
                    <a:close/>
                    <a:moveTo>
                      <a:pt x="5" y="6"/>
                    </a:moveTo>
                    <a:cubicBezTo>
                      <a:pt x="7" y="12"/>
                      <a:pt x="8" y="16"/>
                      <a:pt x="9" y="20"/>
                    </a:cubicBezTo>
                    <a:cubicBezTo>
                      <a:pt x="14" y="21"/>
                      <a:pt x="18" y="21"/>
                      <a:pt x="23" y="21"/>
                    </a:cubicBezTo>
                    <a:cubicBezTo>
                      <a:pt x="24" y="21"/>
                      <a:pt x="24" y="21"/>
                      <a:pt x="25" y="21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4" y="19"/>
                      <a:pt x="24" y="18"/>
                      <a:pt x="24" y="18"/>
                    </a:cubicBezTo>
                    <a:cubicBezTo>
                      <a:pt x="24" y="16"/>
                      <a:pt x="23" y="13"/>
                      <a:pt x="23" y="10"/>
                    </a:cubicBezTo>
                    <a:cubicBezTo>
                      <a:pt x="22" y="8"/>
                      <a:pt x="21" y="7"/>
                      <a:pt x="19" y="7"/>
                    </a:cubicBezTo>
                    <a:cubicBezTo>
                      <a:pt x="17" y="7"/>
                      <a:pt x="14" y="7"/>
                      <a:pt x="12" y="7"/>
                    </a:cubicBezTo>
                    <a:cubicBezTo>
                      <a:pt x="10" y="6"/>
                      <a:pt x="8" y="6"/>
                      <a:pt x="5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9" name="Freeform 620"/>
              <p:cNvSpPr>
                <a:spLocks/>
              </p:cNvSpPr>
              <p:nvPr/>
            </p:nvSpPr>
            <p:spPr bwMode="auto">
              <a:xfrm>
                <a:off x="7539038" y="3440113"/>
                <a:ext cx="188913" cy="34925"/>
              </a:xfrm>
              <a:custGeom>
                <a:avLst/>
                <a:gdLst>
                  <a:gd name="T0" fmla="*/ 3 w 48"/>
                  <a:gd name="T1" fmla="*/ 9 h 9"/>
                  <a:gd name="T2" fmla="*/ 0 w 48"/>
                  <a:gd name="T3" fmla="*/ 3 h 9"/>
                  <a:gd name="T4" fmla="*/ 2 w 48"/>
                  <a:gd name="T5" fmla="*/ 0 h 9"/>
                  <a:gd name="T6" fmla="*/ 4 w 48"/>
                  <a:gd name="T7" fmla="*/ 1 h 9"/>
                  <a:gd name="T8" fmla="*/ 7 w 48"/>
                  <a:gd name="T9" fmla="*/ 0 h 9"/>
                  <a:gd name="T10" fmla="*/ 12 w 48"/>
                  <a:gd name="T11" fmla="*/ 1 h 9"/>
                  <a:gd name="T12" fmla="*/ 22 w 48"/>
                  <a:gd name="T13" fmla="*/ 0 h 9"/>
                  <a:gd name="T14" fmla="*/ 29 w 48"/>
                  <a:gd name="T15" fmla="*/ 2 h 9"/>
                  <a:gd name="T16" fmla="*/ 40 w 48"/>
                  <a:gd name="T17" fmla="*/ 2 h 9"/>
                  <a:gd name="T18" fmla="*/ 47 w 48"/>
                  <a:gd name="T19" fmla="*/ 3 h 9"/>
                  <a:gd name="T20" fmla="*/ 48 w 48"/>
                  <a:gd name="T21" fmla="*/ 4 h 9"/>
                  <a:gd name="T22" fmla="*/ 47 w 48"/>
                  <a:gd name="T23" fmla="*/ 7 h 9"/>
                  <a:gd name="T24" fmla="*/ 43 w 48"/>
                  <a:gd name="T25" fmla="*/ 8 h 9"/>
                  <a:gd name="T26" fmla="*/ 28 w 48"/>
                  <a:gd name="T27" fmla="*/ 8 h 9"/>
                  <a:gd name="T28" fmla="*/ 20 w 48"/>
                  <a:gd name="T29" fmla="*/ 7 h 9"/>
                  <a:gd name="T30" fmla="*/ 18 w 48"/>
                  <a:gd name="T31" fmla="*/ 7 h 9"/>
                  <a:gd name="T32" fmla="*/ 9 w 48"/>
                  <a:gd name="T33" fmla="*/ 6 h 9"/>
                  <a:gd name="T34" fmla="*/ 3 w 48"/>
                  <a:gd name="T3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9">
                    <a:moveTo>
                      <a:pt x="3" y="9"/>
                    </a:moveTo>
                    <a:cubicBezTo>
                      <a:pt x="0" y="8"/>
                      <a:pt x="0" y="6"/>
                      <a:pt x="0" y="3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6" y="1"/>
                      <a:pt x="7" y="0"/>
                    </a:cubicBezTo>
                    <a:cubicBezTo>
                      <a:pt x="9" y="0"/>
                      <a:pt x="11" y="0"/>
                      <a:pt x="12" y="1"/>
                    </a:cubicBezTo>
                    <a:cubicBezTo>
                      <a:pt x="16" y="2"/>
                      <a:pt x="19" y="2"/>
                      <a:pt x="22" y="0"/>
                    </a:cubicBezTo>
                    <a:cubicBezTo>
                      <a:pt x="23" y="2"/>
                      <a:pt x="26" y="3"/>
                      <a:pt x="29" y="2"/>
                    </a:cubicBezTo>
                    <a:cubicBezTo>
                      <a:pt x="33" y="2"/>
                      <a:pt x="36" y="1"/>
                      <a:pt x="40" y="2"/>
                    </a:cubicBezTo>
                    <a:cubicBezTo>
                      <a:pt x="42" y="3"/>
                      <a:pt x="44" y="3"/>
                      <a:pt x="47" y="3"/>
                    </a:cubicBezTo>
                    <a:cubicBezTo>
                      <a:pt x="47" y="3"/>
                      <a:pt x="48" y="4"/>
                      <a:pt x="48" y="4"/>
                    </a:cubicBezTo>
                    <a:cubicBezTo>
                      <a:pt x="48" y="5"/>
                      <a:pt x="48" y="7"/>
                      <a:pt x="47" y="7"/>
                    </a:cubicBezTo>
                    <a:cubicBezTo>
                      <a:pt x="46" y="8"/>
                      <a:pt x="44" y="8"/>
                      <a:pt x="43" y="8"/>
                    </a:cubicBezTo>
                    <a:cubicBezTo>
                      <a:pt x="38" y="7"/>
                      <a:pt x="33" y="6"/>
                      <a:pt x="28" y="8"/>
                    </a:cubicBezTo>
                    <a:cubicBezTo>
                      <a:pt x="26" y="8"/>
                      <a:pt x="22" y="9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5" y="7"/>
                      <a:pt x="12" y="7"/>
                      <a:pt x="9" y="6"/>
                    </a:cubicBezTo>
                    <a:cubicBezTo>
                      <a:pt x="7" y="6"/>
                      <a:pt x="5" y="8"/>
                      <a:pt x="3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0" name="Freeform 621"/>
              <p:cNvSpPr>
                <a:spLocks/>
              </p:cNvSpPr>
              <p:nvPr/>
            </p:nvSpPr>
            <p:spPr bwMode="auto">
              <a:xfrm>
                <a:off x="7543800" y="3570288"/>
                <a:ext cx="188913" cy="26988"/>
              </a:xfrm>
              <a:custGeom>
                <a:avLst/>
                <a:gdLst>
                  <a:gd name="T0" fmla="*/ 10 w 48"/>
                  <a:gd name="T1" fmla="*/ 1 h 7"/>
                  <a:gd name="T2" fmla="*/ 20 w 48"/>
                  <a:gd name="T3" fmla="*/ 0 h 7"/>
                  <a:gd name="T4" fmla="*/ 27 w 48"/>
                  <a:gd name="T5" fmla="*/ 1 h 7"/>
                  <a:gd name="T6" fmla="*/ 33 w 48"/>
                  <a:gd name="T7" fmla="*/ 2 h 7"/>
                  <a:gd name="T8" fmla="*/ 44 w 48"/>
                  <a:gd name="T9" fmla="*/ 2 h 7"/>
                  <a:gd name="T10" fmla="*/ 48 w 48"/>
                  <a:gd name="T11" fmla="*/ 3 h 7"/>
                  <a:gd name="T12" fmla="*/ 48 w 48"/>
                  <a:gd name="T13" fmla="*/ 5 h 7"/>
                  <a:gd name="T14" fmla="*/ 46 w 48"/>
                  <a:gd name="T15" fmla="*/ 6 h 7"/>
                  <a:gd name="T16" fmla="*/ 34 w 48"/>
                  <a:gd name="T17" fmla="*/ 7 h 7"/>
                  <a:gd name="T18" fmla="*/ 27 w 48"/>
                  <a:gd name="T19" fmla="*/ 7 h 7"/>
                  <a:gd name="T20" fmla="*/ 21 w 48"/>
                  <a:gd name="T21" fmla="*/ 6 h 7"/>
                  <a:gd name="T22" fmla="*/ 16 w 48"/>
                  <a:gd name="T23" fmla="*/ 7 h 7"/>
                  <a:gd name="T24" fmla="*/ 13 w 48"/>
                  <a:gd name="T25" fmla="*/ 6 h 7"/>
                  <a:gd name="T26" fmla="*/ 4 w 48"/>
                  <a:gd name="T27" fmla="*/ 7 h 7"/>
                  <a:gd name="T28" fmla="*/ 1 w 48"/>
                  <a:gd name="T29" fmla="*/ 6 h 7"/>
                  <a:gd name="T30" fmla="*/ 2 w 48"/>
                  <a:gd name="T31" fmla="*/ 3 h 7"/>
                  <a:gd name="T32" fmla="*/ 9 w 48"/>
                  <a:gd name="T33" fmla="*/ 0 h 7"/>
                  <a:gd name="T34" fmla="*/ 10 w 48"/>
                  <a:gd name="T3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">
                    <a:moveTo>
                      <a:pt x="10" y="1"/>
                    </a:moveTo>
                    <a:cubicBezTo>
                      <a:pt x="13" y="0"/>
                      <a:pt x="17" y="0"/>
                      <a:pt x="20" y="0"/>
                    </a:cubicBezTo>
                    <a:cubicBezTo>
                      <a:pt x="22" y="0"/>
                      <a:pt x="25" y="1"/>
                      <a:pt x="27" y="1"/>
                    </a:cubicBezTo>
                    <a:cubicBezTo>
                      <a:pt x="29" y="1"/>
                      <a:pt x="31" y="1"/>
                      <a:pt x="33" y="2"/>
                    </a:cubicBezTo>
                    <a:cubicBezTo>
                      <a:pt x="37" y="3"/>
                      <a:pt x="41" y="1"/>
                      <a:pt x="44" y="2"/>
                    </a:cubicBezTo>
                    <a:cubicBezTo>
                      <a:pt x="46" y="2"/>
                      <a:pt x="47" y="2"/>
                      <a:pt x="48" y="3"/>
                    </a:cubicBezTo>
                    <a:cubicBezTo>
                      <a:pt x="48" y="3"/>
                      <a:pt x="48" y="4"/>
                      <a:pt x="48" y="5"/>
                    </a:cubicBezTo>
                    <a:cubicBezTo>
                      <a:pt x="48" y="5"/>
                      <a:pt x="47" y="6"/>
                      <a:pt x="46" y="6"/>
                    </a:cubicBezTo>
                    <a:cubicBezTo>
                      <a:pt x="42" y="7"/>
                      <a:pt x="38" y="7"/>
                      <a:pt x="34" y="7"/>
                    </a:cubicBezTo>
                    <a:cubicBezTo>
                      <a:pt x="32" y="7"/>
                      <a:pt x="29" y="7"/>
                      <a:pt x="27" y="7"/>
                    </a:cubicBezTo>
                    <a:cubicBezTo>
                      <a:pt x="25" y="6"/>
                      <a:pt x="23" y="6"/>
                      <a:pt x="21" y="6"/>
                    </a:cubicBezTo>
                    <a:cubicBezTo>
                      <a:pt x="19" y="6"/>
                      <a:pt x="17" y="6"/>
                      <a:pt x="16" y="7"/>
                    </a:cubicBezTo>
                    <a:cubicBezTo>
                      <a:pt x="15" y="7"/>
                      <a:pt x="14" y="6"/>
                      <a:pt x="13" y="6"/>
                    </a:cubicBezTo>
                    <a:cubicBezTo>
                      <a:pt x="10" y="5"/>
                      <a:pt x="7" y="6"/>
                      <a:pt x="4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5"/>
                      <a:pt x="0" y="3"/>
                      <a:pt x="2" y="3"/>
                    </a:cubicBezTo>
                    <a:cubicBezTo>
                      <a:pt x="4" y="2"/>
                      <a:pt x="7" y="1"/>
                      <a:pt x="9" y="0"/>
                    </a:cubicBezTo>
                    <a:cubicBezTo>
                      <a:pt x="9" y="0"/>
                      <a:pt x="10" y="0"/>
                      <a:pt x="1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1" name="Freeform 622"/>
              <p:cNvSpPr>
                <a:spLocks noEditPoints="1"/>
              </p:cNvSpPr>
              <p:nvPr/>
            </p:nvSpPr>
            <p:spPr bwMode="auto">
              <a:xfrm>
                <a:off x="7535863" y="3192463"/>
                <a:ext cx="58738" cy="66675"/>
              </a:xfrm>
              <a:custGeom>
                <a:avLst/>
                <a:gdLst>
                  <a:gd name="T0" fmla="*/ 10 w 15"/>
                  <a:gd name="T1" fmla="*/ 0 h 17"/>
                  <a:gd name="T2" fmla="*/ 14 w 15"/>
                  <a:gd name="T3" fmla="*/ 2 h 17"/>
                  <a:gd name="T4" fmla="*/ 15 w 15"/>
                  <a:gd name="T5" fmla="*/ 7 h 17"/>
                  <a:gd name="T6" fmla="*/ 7 w 15"/>
                  <a:gd name="T7" fmla="*/ 16 h 17"/>
                  <a:gd name="T8" fmla="*/ 0 w 15"/>
                  <a:gd name="T9" fmla="*/ 12 h 17"/>
                  <a:gd name="T10" fmla="*/ 5 w 15"/>
                  <a:gd name="T11" fmla="*/ 1 h 17"/>
                  <a:gd name="T12" fmla="*/ 10 w 15"/>
                  <a:gd name="T13" fmla="*/ 0 h 17"/>
                  <a:gd name="T14" fmla="*/ 10 w 15"/>
                  <a:gd name="T15" fmla="*/ 7 h 17"/>
                  <a:gd name="T16" fmla="*/ 5 w 15"/>
                  <a:gd name="T17" fmla="*/ 9 h 17"/>
                  <a:gd name="T18" fmla="*/ 8 w 15"/>
                  <a:gd name="T19" fmla="*/ 11 h 17"/>
                  <a:gd name="T20" fmla="*/ 10 w 15"/>
                  <a:gd name="T21" fmla="*/ 8 h 17"/>
                  <a:gd name="T22" fmla="*/ 10 w 15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7">
                    <a:moveTo>
                      <a:pt x="10" y="0"/>
                    </a:moveTo>
                    <a:cubicBezTo>
                      <a:pt x="11" y="1"/>
                      <a:pt x="13" y="1"/>
                      <a:pt x="14" y="2"/>
                    </a:cubicBezTo>
                    <a:cubicBezTo>
                      <a:pt x="15" y="3"/>
                      <a:pt x="15" y="5"/>
                      <a:pt x="15" y="7"/>
                    </a:cubicBezTo>
                    <a:cubicBezTo>
                      <a:pt x="15" y="11"/>
                      <a:pt x="11" y="16"/>
                      <a:pt x="7" y="16"/>
                    </a:cubicBezTo>
                    <a:cubicBezTo>
                      <a:pt x="5" y="17"/>
                      <a:pt x="1" y="15"/>
                      <a:pt x="0" y="12"/>
                    </a:cubicBezTo>
                    <a:cubicBezTo>
                      <a:pt x="0" y="8"/>
                      <a:pt x="2" y="3"/>
                      <a:pt x="5" y="1"/>
                    </a:cubicBezTo>
                    <a:cubicBezTo>
                      <a:pt x="6" y="1"/>
                      <a:pt x="8" y="1"/>
                      <a:pt x="10" y="0"/>
                    </a:cubicBezTo>
                    <a:close/>
                    <a:moveTo>
                      <a:pt x="10" y="7"/>
                    </a:moveTo>
                    <a:cubicBezTo>
                      <a:pt x="6" y="7"/>
                      <a:pt x="5" y="8"/>
                      <a:pt x="5" y="9"/>
                    </a:cubicBezTo>
                    <a:cubicBezTo>
                      <a:pt x="5" y="11"/>
                      <a:pt x="6" y="12"/>
                      <a:pt x="8" y="11"/>
                    </a:cubicBezTo>
                    <a:cubicBezTo>
                      <a:pt x="9" y="11"/>
                      <a:pt x="10" y="9"/>
                      <a:pt x="10" y="8"/>
                    </a:cubicBezTo>
                    <a:cubicBezTo>
                      <a:pt x="11" y="8"/>
                      <a:pt x="10" y="7"/>
                      <a:pt x="10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02" name="Group 501"/>
          <p:cNvGrpSpPr/>
          <p:nvPr/>
        </p:nvGrpSpPr>
        <p:grpSpPr>
          <a:xfrm>
            <a:off x="4379645" y="1547305"/>
            <a:ext cx="793571" cy="162368"/>
            <a:chOff x="4379645" y="1547305"/>
            <a:chExt cx="793571" cy="162368"/>
          </a:xfrm>
        </p:grpSpPr>
        <p:sp>
          <p:nvSpPr>
            <p:cNvPr id="503" name="正方形/長方形 4">
              <a:extLst>
                <a:ext uri="{FF2B5EF4-FFF2-40B4-BE49-F238E27FC236}">
                  <a16:creationId xmlns="" xmlns:a16="http://schemas.microsoft.com/office/drawing/2014/main" id="{51FD91B2-BEE1-4D95-8378-21BF94A03A37}"/>
                </a:ext>
              </a:extLst>
            </p:cNvPr>
            <p:cNvSpPr/>
            <p:nvPr/>
          </p:nvSpPr>
          <p:spPr>
            <a:xfrm>
              <a:off x="4379645" y="1547305"/>
              <a:ext cx="793571" cy="162368"/>
            </a:xfrm>
            <a:prstGeom prst="roundRect">
              <a:avLst/>
            </a:pr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9700" tIns="29700" rIns="29700" bIns="29700" rtlCol="0" anchor="ctr">
              <a:noAutofit/>
            </a:bodyPr>
            <a:lstStyle/>
            <a:p>
              <a:pPr algn="r"/>
              <a:r>
                <a:rPr kumimoji="1" lang="en-US" altLang="ja-JP" sz="900" dirty="0" smtClean="0">
                  <a:solidFill>
                    <a:schemeClr val="accent5"/>
                  </a:solidFill>
                </a:rPr>
                <a:t>Profiles</a:t>
              </a:r>
              <a:endParaRPr kumimoji="1" lang="en-US" altLang="ja-JP" sz="900" dirty="0">
                <a:solidFill>
                  <a:schemeClr val="accent5"/>
                </a:solidFill>
              </a:endParaRPr>
            </a:p>
          </p:txBody>
        </p:sp>
        <p:grpSp>
          <p:nvGrpSpPr>
            <p:cNvPr id="504" name="Group 6"/>
            <p:cNvGrpSpPr>
              <a:grpSpLocks noChangeAspect="1"/>
            </p:cNvGrpSpPr>
            <p:nvPr/>
          </p:nvGrpSpPr>
          <p:grpSpPr bwMode="auto">
            <a:xfrm>
              <a:off x="4525144" y="1569422"/>
              <a:ext cx="69855" cy="104805"/>
              <a:chOff x="298" y="1259"/>
              <a:chExt cx="1481" cy="2222"/>
            </a:xfrm>
            <a:solidFill>
              <a:schemeClr val="bg2">
                <a:lumMod val="50000"/>
              </a:schemeClr>
            </a:solidFill>
          </p:grpSpPr>
          <p:sp>
            <p:nvSpPr>
              <p:cNvPr id="505" name="Freeform 7"/>
              <p:cNvSpPr>
                <a:spLocks/>
              </p:cNvSpPr>
              <p:nvPr/>
            </p:nvSpPr>
            <p:spPr bwMode="auto">
              <a:xfrm>
                <a:off x="644" y="1342"/>
                <a:ext cx="120" cy="125"/>
              </a:xfrm>
              <a:custGeom>
                <a:avLst/>
                <a:gdLst>
                  <a:gd name="T0" fmla="*/ 99 w 99"/>
                  <a:gd name="T1" fmla="*/ 17 h 103"/>
                  <a:gd name="T2" fmla="*/ 58 w 99"/>
                  <a:gd name="T3" fmla="*/ 74 h 103"/>
                  <a:gd name="T4" fmla="*/ 48 w 99"/>
                  <a:gd name="T5" fmla="*/ 80 h 103"/>
                  <a:gd name="T6" fmla="*/ 34 w 99"/>
                  <a:gd name="T7" fmla="*/ 103 h 103"/>
                  <a:gd name="T8" fmla="*/ 89 w 99"/>
                  <a:gd name="T9" fmla="*/ 17 h 103"/>
                  <a:gd name="T10" fmla="*/ 12 w 99"/>
                  <a:gd name="T11" fmla="*/ 99 h 103"/>
                  <a:gd name="T12" fmla="*/ 0 w 99"/>
                  <a:gd name="T13" fmla="*/ 97 h 103"/>
                  <a:gd name="T14" fmla="*/ 99 w 99"/>
                  <a:gd name="T15" fmla="*/ 1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103">
                    <a:moveTo>
                      <a:pt x="99" y="17"/>
                    </a:moveTo>
                    <a:cubicBezTo>
                      <a:pt x="87" y="38"/>
                      <a:pt x="64" y="47"/>
                      <a:pt x="58" y="74"/>
                    </a:cubicBezTo>
                    <a:cubicBezTo>
                      <a:pt x="54" y="75"/>
                      <a:pt x="55" y="81"/>
                      <a:pt x="48" y="80"/>
                    </a:cubicBezTo>
                    <a:cubicBezTo>
                      <a:pt x="55" y="86"/>
                      <a:pt x="42" y="100"/>
                      <a:pt x="34" y="103"/>
                    </a:cubicBezTo>
                    <a:cubicBezTo>
                      <a:pt x="49" y="71"/>
                      <a:pt x="67" y="42"/>
                      <a:pt x="89" y="17"/>
                    </a:cubicBezTo>
                    <a:cubicBezTo>
                      <a:pt x="47" y="28"/>
                      <a:pt x="29" y="63"/>
                      <a:pt x="12" y="99"/>
                    </a:cubicBezTo>
                    <a:cubicBezTo>
                      <a:pt x="10" y="97"/>
                      <a:pt x="4" y="97"/>
                      <a:pt x="0" y="97"/>
                    </a:cubicBezTo>
                    <a:cubicBezTo>
                      <a:pt x="13" y="53"/>
                      <a:pt x="42" y="0"/>
                      <a:pt x="9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6" name="Freeform 8"/>
              <p:cNvSpPr>
                <a:spLocks/>
              </p:cNvSpPr>
              <p:nvPr/>
            </p:nvSpPr>
            <p:spPr bwMode="auto">
              <a:xfrm>
                <a:off x="1150" y="1288"/>
                <a:ext cx="102" cy="53"/>
              </a:xfrm>
              <a:custGeom>
                <a:avLst/>
                <a:gdLst>
                  <a:gd name="T0" fmla="*/ 84 w 84"/>
                  <a:gd name="T1" fmla="*/ 43 h 43"/>
                  <a:gd name="T2" fmla="*/ 34 w 84"/>
                  <a:gd name="T3" fmla="*/ 36 h 43"/>
                  <a:gd name="T4" fmla="*/ 27 w 84"/>
                  <a:gd name="T5" fmla="*/ 31 h 43"/>
                  <a:gd name="T6" fmla="*/ 8 w 84"/>
                  <a:gd name="T7" fmla="*/ 30 h 43"/>
                  <a:gd name="T8" fmla="*/ 81 w 84"/>
                  <a:gd name="T9" fmla="*/ 36 h 43"/>
                  <a:gd name="T10" fmla="*/ 3 w 84"/>
                  <a:gd name="T11" fmla="*/ 15 h 43"/>
                  <a:gd name="T12" fmla="*/ 0 w 84"/>
                  <a:gd name="T13" fmla="*/ 7 h 43"/>
                  <a:gd name="T14" fmla="*/ 84 w 84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3">
                    <a:moveTo>
                      <a:pt x="84" y="43"/>
                    </a:moveTo>
                    <a:cubicBezTo>
                      <a:pt x="67" y="42"/>
                      <a:pt x="53" y="30"/>
                      <a:pt x="34" y="36"/>
                    </a:cubicBezTo>
                    <a:cubicBezTo>
                      <a:pt x="32" y="34"/>
                      <a:pt x="29" y="36"/>
                      <a:pt x="27" y="31"/>
                    </a:cubicBezTo>
                    <a:cubicBezTo>
                      <a:pt x="25" y="38"/>
                      <a:pt x="12" y="34"/>
                      <a:pt x="8" y="30"/>
                    </a:cubicBezTo>
                    <a:cubicBezTo>
                      <a:pt x="33" y="29"/>
                      <a:pt x="57" y="31"/>
                      <a:pt x="81" y="36"/>
                    </a:cubicBezTo>
                    <a:cubicBezTo>
                      <a:pt x="59" y="13"/>
                      <a:pt x="31" y="14"/>
                      <a:pt x="3" y="15"/>
                    </a:cubicBezTo>
                    <a:cubicBezTo>
                      <a:pt x="4" y="13"/>
                      <a:pt x="1" y="10"/>
                      <a:pt x="0" y="7"/>
                    </a:cubicBezTo>
                    <a:cubicBezTo>
                      <a:pt x="32" y="1"/>
                      <a:pt x="76" y="0"/>
                      <a:pt x="8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7" name="Freeform 9"/>
              <p:cNvSpPr>
                <a:spLocks/>
              </p:cNvSpPr>
              <p:nvPr/>
            </p:nvSpPr>
            <p:spPr bwMode="auto">
              <a:xfrm>
                <a:off x="1016" y="2286"/>
                <a:ext cx="110" cy="82"/>
              </a:xfrm>
              <a:custGeom>
                <a:avLst/>
                <a:gdLst>
                  <a:gd name="T0" fmla="*/ 16 w 91"/>
                  <a:gd name="T1" fmla="*/ 48 h 68"/>
                  <a:gd name="T2" fmla="*/ 68 w 91"/>
                  <a:gd name="T3" fmla="*/ 15 h 68"/>
                  <a:gd name="T4" fmla="*/ 23 w 91"/>
                  <a:gd name="T5" fmla="*/ 47 h 68"/>
                  <a:gd name="T6" fmla="*/ 11 w 91"/>
                  <a:gd name="T7" fmla="*/ 56 h 68"/>
                  <a:gd name="T8" fmla="*/ 16 w 91"/>
                  <a:gd name="T9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68">
                    <a:moveTo>
                      <a:pt x="16" y="48"/>
                    </a:moveTo>
                    <a:cubicBezTo>
                      <a:pt x="0" y="43"/>
                      <a:pt x="45" y="0"/>
                      <a:pt x="68" y="15"/>
                    </a:cubicBezTo>
                    <a:cubicBezTo>
                      <a:pt x="91" y="30"/>
                      <a:pt x="48" y="68"/>
                      <a:pt x="23" y="47"/>
                    </a:cubicBezTo>
                    <a:cubicBezTo>
                      <a:pt x="16" y="47"/>
                      <a:pt x="20" y="58"/>
                      <a:pt x="11" y="56"/>
                    </a:cubicBezTo>
                    <a:cubicBezTo>
                      <a:pt x="10" y="51"/>
                      <a:pt x="13" y="50"/>
                      <a:pt x="16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8" name="Freeform 10"/>
              <p:cNvSpPr>
                <a:spLocks/>
              </p:cNvSpPr>
              <p:nvPr/>
            </p:nvSpPr>
            <p:spPr bwMode="auto">
              <a:xfrm>
                <a:off x="889" y="2305"/>
                <a:ext cx="129" cy="65"/>
              </a:xfrm>
              <a:custGeom>
                <a:avLst/>
                <a:gdLst>
                  <a:gd name="T0" fmla="*/ 72 w 106"/>
                  <a:gd name="T1" fmla="*/ 40 h 53"/>
                  <a:gd name="T2" fmla="*/ 75 w 106"/>
                  <a:gd name="T3" fmla="*/ 41 h 53"/>
                  <a:gd name="T4" fmla="*/ 70 w 106"/>
                  <a:gd name="T5" fmla="*/ 50 h 53"/>
                  <a:gd name="T6" fmla="*/ 47 w 106"/>
                  <a:gd name="T7" fmla="*/ 52 h 53"/>
                  <a:gd name="T8" fmla="*/ 29 w 106"/>
                  <a:gd name="T9" fmla="*/ 0 h 53"/>
                  <a:gd name="T10" fmla="*/ 70 w 106"/>
                  <a:gd name="T11" fmla="*/ 20 h 53"/>
                  <a:gd name="T12" fmla="*/ 72 w 106"/>
                  <a:gd name="T13" fmla="*/ 27 h 53"/>
                  <a:gd name="T14" fmla="*/ 88 w 106"/>
                  <a:gd name="T15" fmla="*/ 40 h 53"/>
                  <a:gd name="T16" fmla="*/ 106 w 106"/>
                  <a:gd name="T17" fmla="*/ 50 h 53"/>
                  <a:gd name="T18" fmla="*/ 84 w 106"/>
                  <a:gd name="T19" fmla="*/ 50 h 53"/>
                  <a:gd name="T20" fmla="*/ 72 w 106"/>
                  <a:gd name="T21" fmla="*/ 4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53">
                    <a:moveTo>
                      <a:pt x="72" y="40"/>
                    </a:moveTo>
                    <a:cubicBezTo>
                      <a:pt x="72" y="41"/>
                      <a:pt x="74" y="41"/>
                      <a:pt x="75" y="41"/>
                    </a:cubicBezTo>
                    <a:cubicBezTo>
                      <a:pt x="73" y="44"/>
                      <a:pt x="70" y="45"/>
                      <a:pt x="70" y="50"/>
                    </a:cubicBezTo>
                    <a:cubicBezTo>
                      <a:pt x="64" y="48"/>
                      <a:pt x="54" y="51"/>
                      <a:pt x="47" y="52"/>
                    </a:cubicBezTo>
                    <a:cubicBezTo>
                      <a:pt x="42" y="34"/>
                      <a:pt x="0" y="19"/>
                      <a:pt x="29" y="0"/>
                    </a:cubicBezTo>
                    <a:cubicBezTo>
                      <a:pt x="40" y="5"/>
                      <a:pt x="60" y="8"/>
                      <a:pt x="70" y="20"/>
                    </a:cubicBezTo>
                    <a:cubicBezTo>
                      <a:pt x="71" y="21"/>
                      <a:pt x="70" y="26"/>
                      <a:pt x="72" y="27"/>
                    </a:cubicBezTo>
                    <a:cubicBezTo>
                      <a:pt x="76" y="31"/>
                      <a:pt x="97" y="35"/>
                      <a:pt x="88" y="40"/>
                    </a:cubicBezTo>
                    <a:cubicBezTo>
                      <a:pt x="95" y="42"/>
                      <a:pt x="102" y="44"/>
                      <a:pt x="106" y="50"/>
                    </a:cubicBezTo>
                    <a:cubicBezTo>
                      <a:pt x="102" y="53"/>
                      <a:pt x="89" y="47"/>
                      <a:pt x="84" y="50"/>
                    </a:cubicBezTo>
                    <a:cubicBezTo>
                      <a:pt x="85" y="42"/>
                      <a:pt x="77" y="42"/>
                      <a:pt x="72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9" name="Freeform 11"/>
              <p:cNvSpPr>
                <a:spLocks/>
              </p:cNvSpPr>
              <p:nvPr/>
            </p:nvSpPr>
            <p:spPr bwMode="auto">
              <a:xfrm>
                <a:off x="1096" y="2347"/>
                <a:ext cx="30" cy="17"/>
              </a:xfrm>
              <a:custGeom>
                <a:avLst/>
                <a:gdLst>
                  <a:gd name="T0" fmla="*/ 25 w 25"/>
                  <a:gd name="T1" fmla="*/ 0 h 14"/>
                  <a:gd name="T2" fmla="*/ 0 w 25"/>
                  <a:gd name="T3" fmla="*/ 11 h 14"/>
                  <a:gd name="T4" fmla="*/ 25 w 25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25" y="0"/>
                    </a:moveTo>
                    <a:cubicBezTo>
                      <a:pt x="23" y="10"/>
                      <a:pt x="8" y="14"/>
                      <a:pt x="0" y="11"/>
                    </a:cubicBezTo>
                    <a:cubicBezTo>
                      <a:pt x="6" y="5"/>
                      <a:pt x="15" y="3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0" name="Freeform 12"/>
              <p:cNvSpPr>
                <a:spLocks/>
              </p:cNvSpPr>
              <p:nvPr/>
            </p:nvSpPr>
            <p:spPr bwMode="auto">
              <a:xfrm>
                <a:off x="894" y="2357"/>
                <a:ext cx="44" cy="31"/>
              </a:xfrm>
              <a:custGeom>
                <a:avLst/>
                <a:gdLst>
                  <a:gd name="T0" fmla="*/ 4 w 36"/>
                  <a:gd name="T1" fmla="*/ 0 h 25"/>
                  <a:gd name="T2" fmla="*/ 36 w 36"/>
                  <a:gd name="T3" fmla="*/ 9 h 25"/>
                  <a:gd name="T4" fmla="*/ 4 w 36"/>
                  <a:gd name="T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25">
                    <a:moveTo>
                      <a:pt x="4" y="0"/>
                    </a:moveTo>
                    <a:cubicBezTo>
                      <a:pt x="13" y="5"/>
                      <a:pt x="24" y="8"/>
                      <a:pt x="36" y="9"/>
                    </a:cubicBezTo>
                    <a:cubicBezTo>
                      <a:pt x="28" y="21"/>
                      <a:pt x="0" y="2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1" name="Freeform 13"/>
              <p:cNvSpPr>
                <a:spLocks/>
              </p:cNvSpPr>
              <p:nvPr/>
            </p:nvSpPr>
            <p:spPr bwMode="auto">
              <a:xfrm>
                <a:off x="921" y="2406"/>
                <a:ext cx="12" cy="16"/>
              </a:xfrm>
              <a:custGeom>
                <a:avLst/>
                <a:gdLst>
                  <a:gd name="T0" fmla="*/ 3 w 10"/>
                  <a:gd name="T1" fmla="*/ 1 h 13"/>
                  <a:gd name="T2" fmla="*/ 0 w 10"/>
                  <a:gd name="T3" fmla="*/ 10 h 13"/>
                  <a:gd name="T4" fmla="*/ 3 w 10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3">
                    <a:moveTo>
                      <a:pt x="3" y="1"/>
                    </a:moveTo>
                    <a:cubicBezTo>
                      <a:pt x="10" y="0"/>
                      <a:pt x="6" y="13"/>
                      <a:pt x="0" y="10"/>
                    </a:cubicBezTo>
                    <a:cubicBezTo>
                      <a:pt x="0" y="7"/>
                      <a:pt x="3" y="5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2" name="Freeform 14"/>
              <p:cNvSpPr>
                <a:spLocks noEditPoints="1"/>
              </p:cNvSpPr>
              <p:nvPr/>
            </p:nvSpPr>
            <p:spPr bwMode="auto">
              <a:xfrm>
                <a:off x="564" y="1537"/>
                <a:ext cx="103" cy="474"/>
              </a:xfrm>
              <a:custGeom>
                <a:avLst/>
                <a:gdLst>
                  <a:gd name="T0" fmla="*/ 50 w 85"/>
                  <a:gd name="T1" fmla="*/ 237 h 390"/>
                  <a:gd name="T2" fmla="*/ 28 w 85"/>
                  <a:gd name="T3" fmla="*/ 362 h 390"/>
                  <a:gd name="T4" fmla="*/ 27 w 85"/>
                  <a:gd name="T5" fmla="*/ 356 h 390"/>
                  <a:gd name="T6" fmla="*/ 25 w 85"/>
                  <a:gd name="T7" fmla="*/ 390 h 390"/>
                  <a:gd name="T8" fmla="*/ 11 w 85"/>
                  <a:gd name="T9" fmla="*/ 226 h 390"/>
                  <a:gd name="T10" fmla="*/ 12 w 85"/>
                  <a:gd name="T11" fmla="*/ 232 h 390"/>
                  <a:gd name="T12" fmla="*/ 23 w 85"/>
                  <a:gd name="T13" fmla="*/ 159 h 390"/>
                  <a:gd name="T14" fmla="*/ 32 w 85"/>
                  <a:gd name="T15" fmla="*/ 141 h 390"/>
                  <a:gd name="T16" fmla="*/ 32 w 85"/>
                  <a:gd name="T17" fmla="*/ 120 h 390"/>
                  <a:gd name="T18" fmla="*/ 51 w 85"/>
                  <a:gd name="T19" fmla="*/ 47 h 390"/>
                  <a:gd name="T20" fmla="*/ 69 w 85"/>
                  <a:gd name="T21" fmla="*/ 15 h 390"/>
                  <a:gd name="T22" fmla="*/ 80 w 85"/>
                  <a:gd name="T23" fmla="*/ 0 h 390"/>
                  <a:gd name="T24" fmla="*/ 55 w 85"/>
                  <a:gd name="T25" fmla="*/ 107 h 390"/>
                  <a:gd name="T26" fmla="*/ 43 w 85"/>
                  <a:gd name="T27" fmla="*/ 186 h 390"/>
                  <a:gd name="T28" fmla="*/ 53 w 85"/>
                  <a:gd name="T29" fmla="*/ 180 h 390"/>
                  <a:gd name="T30" fmla="*/ 60 w 85"/>
                  <a:gd name="T31" fmla="*/ 184 h 390"/>
                  <a:gd name="T32" fmla="*/ 30 w 85"/>
                  <a:gd name="T33" fmla="*/ 241 h 390"/>
                  <a:gd name="T34" fmla="*/ 46 w 85"/>
                  <a:gd name="T35" fmla="*/ 210 h 390"/>
                  <a:gd name="T36" fmla="*/ 27 w 85"/>
                  <a:gd name="T37" fmla="*/ 246 h 390"/>
                  <a:gd name="T38" fmla="*/ 50 w 85"/>
                  <a:gd name="T39" fmla="*/ 237 h 390"/>
                  <a:gd name="T40" fmla="*/ 35 w 85"/>
                  <a:gd name="T41" fmla="*/ 150 h 390"/>
                  <a:gd name="T42" fmla="*/ 35 w 85"/>
                  <a:gd name="T43" fmla="*/ 136 h 390"/>
                  <a:gd name="T44" fmla="*/ 35 w 85"/>
                  <a:gd name="T45" fmla="*/ 150 h 390"/>
                  <a:gd name="T46" fmla="*/ 32 w 85"/>
                  <a:gd name="T47" fmla="*/ 177 h 390"/>
                  <a:gd name="T48" fmla="*/ 32 w 85"/>
                  <a:gd name="T49" fmla="*/ 155 h 390"/>
                  <a:gd name="T50" fmla="*/ 32 w 85"/>
                  <a:gd name="T51" fmla="*/ 177 h 390"/>
                  <a:gd name="T52" fmla="*/ 39 w 85"/>
                  <a:gd name="T53" fmla="*/ 198 h 390"/>
                  <a:gd name="T54" fmla="*/ 43 w 85"/>
                  <a:gd name="T55" fmla="*/ 189 h 390"/>
                  <a:gd name="T56" fmla="*/ 39 w 85"/>
                  <a:gd name="T57" fmla="*/ 198 h 390"/>
                  <a:gd name="T58" fmla="*/ 21 w 85"/>
                  <a:gd name="T59" fmla="*/ 221 h 390"/>
                  <a:gd name="T60" fmla="*/ 23 w 85"/>
                  <a:gd name="T61" fmla="*/ 221 h 390"/>
                  <a:gd name="T62" fmla="*/ 25 w 85"/>
                  <a:gd name="T63" fmla="*/ 226 h 390"/>
                  <a:gd name="T64" fmla="*/ 23 w 85"/>
                  <a:gd name="T65" fmla="*/ 202 h 390"/>
                  <a:gd name="T66" fmla="*/ 21 w 85"/>
                  <a:gd name="T67" fmla="*/ 221 h 390"/>
                  <a:gd name="T68" fmla="*/ 12 w 85"/>
                  <a:gd name="T69" fmla="*/ 251 h 390"/>
                  <a:gd name="T70" fmla="*/ 12 w 85"/>
                  <a:gd name="T71" fmla="*/ 235 h 390"/>
                  <a:gd name="T72" fmla="*/ 12 w 85"/>
                  <a:gd name="T73" fmla="*/ 251 h 390"/>
                  <a:gd name="T74" fmla="*/ 14 w 85"/>
                  <a:gd name="T75" fmla="*/ 266 h 390"/>
                  <a:gd name="T76" fmla="*/ 14 w 85"/>
                  <a:gd name="T77" fmla="*/ 253 h 390"/>
                  <a:gd name="T78" fmla="*/ 14 w 85"/>
                  <a:gd name="T79" fmla="*/ 26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390">
                    <a:moveTo>
                      <a:pt x="50" y="237"/>
                    </a:moveTo>
                    <a:cubicBezTo>
                      <a:pt x="40" y="275"/>
                      <a:pt x="39" y="319"/>
                      <a:pt x="28" y="362"/>
                    </a:cubicBezTo>
                    <a:cubicBezTo>
                      <a:pt x="28" y="362"/>
                      <a:pt x="25" y="358"/>
                      <a:pt x="27" y="356"/>
                    </a:cubicBezTo>
                    <a:cubicBezTo>
                      <a:pt x="22" y="362"/>
                      <a:pt x="31" y="387"/>
                      <a:pt x="25" y="390"/>
                    </a:cubicBezTo>
                    <a:cubicBezTo>
                      <a:pt x="9" y="346"/>
                      <a:pt x="0" y="280"/>
                      <a:pt x="11" y="226"/>
                    </a:cubicBezTo>
                    <a:cubicBezTo>
                      <a:pt x="13" y="227"/>
                      <a:pt x="12" y="230"/>
                      <a:pt x="12" y="232"/>
                    </a:cubicBezTo>
                    <a:cubicBezTo>
                      <a:pt x="17" y="220"/>
                      <a:pt x="17" y="180"/>
                      <a:pt x="23" y="159"/>
                    </a:cubicBezTo>
                    <a:cubicBezTo>
                      <a:pt x="25" y="153"/>
                      <a:pt x="31" y="147"/>
                      <a:pt x="32" y="141"/>
                    </a:cubicBezTo>
                    <a:cubicBezTo>
                      <a:pt x="33" y="134"/>
                      <a:pt x="31" y="126"/>
                      <a:pt x="32" y="120"/>
                    </a:cubicBezTo>
                    <a:cubicBezTo>
                      <a:pt x="36" y="95"/>
                      <a:pt x="47" y="73"/>
                      <a:pt x="51" y="47"/>
                    </a:cubicBezTo>
                    <a:cubicBezTo>
                      <a:pt x="59" y="58"/>
                      <a:pt x="63" y="21"/>
                      <a:pt x="69" y="15"/>
                    </a:cubicBezTo>
                    <a:cubicBezTo>
                      <a:pt x="72" y="12"/>
                      <a:pt x="85" y="12"/>
                      <a:pt x="80" y="0"/>
                    </a:cubicBezTo>
                    <a:cubicBezTo>
                      <a:pt x="83" y="34"/>
                      <a:pt x="61" y="69"/>
                      <a:pt x="55" y="107"/>
                    </a:cubicBezTo>
                    <a:cubicBezTo>
                      <a:pt x="51" y="133"/>
                      <a:pt x="48" y="160"/>
                      <a:pt x="43" y="186"/>
                    </a:cubicBezTo>
                    <a:cubicBezTo>
                      <a:pt x="51" y="189"/>
                      <a:pt x="47" y="180"/>
                      <a:pt x="53" y="180"/>
                    </a:cubicBezTo>
                    <a:cubicBezTo>
                      <a:pt x="53" y="187"/>
                      <a:pt x="56" y="185"/>
                      <a:pt x="60" y="184"/>
                    </a:cubicBezTo>
                    <a:cubicBezTo>
                      <a:pt x="60" y="212"/>
                      <a:pt x="58" y="240"/>
                      <a:pt x="30" y="241"/>
                    </a:cubicBezTo>
                    <a:cubicBezTo>
                      <a:pt x="39" y="234"/>
                      <a:pt x="43" y="223"/>
                      <a:pt x="46" y="210"/>
                    </a:cubicBezTo>
                    <a:cubicBezTo>
                      <a:pt x="38" y="221"/>
                      <a:pt x="29" y="230"/>
                      <a:pt x="27" y="246"/>
                    </a:cubicBezTo>
                    <a:cubicBezTo>
                      <a:pt x="34" y="243"/>
                      <a:pt x="44" y="242"/>
                      <a:pt x="50" y="237"/>
                    </a:cubicBezTo>
                    <a:close/>
                    <a:moveTo>
                      <a:pt x="35" y="150"/>
                    </a:moveTo>
                    <a:cubicBezTo>
                      <a:pt x="39" y="147"/>
                      <a:pt x="40" y="136"/>
                      <a:pt x="35" y="136"/>
                    </a:cubicBezTo>
                    <a:cubicBezTo>
                      <a:pt x="36" y="140"/>
                      <a:pt x="30" y="147"/>
                      <a:pt x="35" y="150"/>
                    </a:cubicBezTo>
                    <a:close/>
                    <a:moveTo>
                      <a:pt x="32" y="177"/>
                    </a:moveTo>
                    <a:cubicBezTo>
                      <a:pt x="31" y="168"/>
                      <a:pt x="39" y="160"/>
                      <a:pt x="32" y="155"/>
                    </a:cubicBezTo>
                    <a:cubicBezTo>
                      <a:pt x="35" y="165"/>
                      <a:pt x="24" y="173"/>
                      <a:pt x="32" y="177"/>
                    </a:cubicBezTo>
                    <a:close/>
                    <a:moveTo>
                      <a:pt x="39" y="198"/>
                    </a:moveTo>
                    <a:cubicBezTo>
                      <a:pt x="44" y="200"/>
                      <a:pt x="47" y="191"/>
                      <a:pt x="43" y="189"/>
                    </a:cubicBezTo>
                    <a:cubicBezTo>
                      <a:pt x="42" y="192"/>
                      <a:pt x="39" y="194"/>
                      <a:pt x="39" y="198"/>
                    </a:cubicBezTo>
                    <a:close/>
                    <a:moveTo>
                      <a:pt x="21" y="221"/>
                    </a:moveTo>
                    <a:cubicBezTo>
                      <a:pt x="21" y="220"/>
                      <a:pt x="23" y="219"/>
                      <a:pt x="23" y="221"/>
                    </a:cubicBezTo>
                    <a:cubicBezTo>
                      <a:pt x="23" y="223"/>
                      <a:pt x="23" y="226"/>
                      <a:pt x="25" y="226"/>
                    </a:cubicBezTo>
                    <a:cubicBezTo>
                      <a:pt x="22" y="217"/>
                      <a:pt x="31" y="205"/>
                      <a:pt x="23" y="202"/>
                    </a:cubicBezTo>
                    <a:cubicBezTo>
                      <a:pt x="25" y="212"/>
                      <a:pt x="17" y="213"/>
                      <a:pt x="21" y="221"/>
                    </a:cubicBezTo>
                    <a:close/>
                    <a:moveTo>
                      <a:pt x="12" y="251"/>
                    </a:moveTo>
                    <a:cubicBezTo>
                      <a:pt x="23" y="251"/>
                      <a:pt x="15" y="239"/>
                      <a:pt x="12" y="235"/>
                    </a:cubicBezTo>
                    <a:cubicBezTo>
                      <a:pt x="12" y="241"/>
                      <a:pt x="12" y="246"/>
                      <a:pt x="12" y="251"/>
                    </a:cubicBezTo>
                    <a:close/>
                    <a:moveTo>
                      <a:pt x="14" y="266"/>
                    </a:moveTo>
                    <a:cubicBezTo>
                      <a:pt x="14" y="262"/>
                      <a:pt x="19" y="255"/>
                      <a:pt x="14" y="253"/>
                    </a:cubicBezTo>
                    <a:cubicBezTo>
                      <a:pt x="12" y="255"/>
                      <a:pt x="10" y="265"/>
                      <a:pt x="14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3" name="Freeform 15"/>
              <p:cNvSpPr>
                <a:spLocks noEditPoints="1"/>
              </p:cNvSpPr>
              <p:nvPr/>
            </p:nvSpPr>
            <p:spPr bwMode="auto">
              <a:xfrm>
                <a:off x="609" y="1800"/>
                <a:ext cx="339" cy="389"/>
              </a:xfrm>
              <a:custGeom>
                <a:avLst/>
                <a:gdLst>
                  <a:gd name="T0" fmla="*/ 103 w 279"/>
                  <a:gd name="T1" fmla="*/ 238 h 320"/>
                  <a:gd name="T2" fmla="*/ 120 w 279"/>
                  <a:gd name="T3" fmla="*/ 238 h 320"/>
                  <a:gd name="T4" fmla="*/ 137 w 279"/>
                  <a:gd name="T5" fmla="*/ 235 h 320"/>
                  <a:gd name="T6" fmla="*/ 235 w 279"/>
                  <a:gd name="T7" fmla="*/ 258 h 320"/>
                  <a:gd name="T8" fmla="*/ 152 w 279"/>
                  <a:gd name="T9" fmla="*/ 285 h 320"/>
                  <a:gd name="T10" fmla="*/ 123 w 279"/>
                  <a:gd name="T11" fmla="*/ 310 h 320"/>
                  <a:gd name="T12" fmla="*/ 96 w 279"/>
                  <a:gd name="T13" fmla="*/ 317 h 320"/>
                  <a:gd name="T14" fmla="*/ 43 w 279"/>
                  <a:gd name="T15" fmla="*/ 294 h 320"/>
                  <a:gd name="T16" fmla="*/ 0 w 279"/>
                  <a:gd name="T17" fmla="*/ 278 h 320"/>
                  <a:gd name="T18" fmla="*/ 70 w 279"/>
                  <a:gd name="T19" fmla="*/ 0 h 320"/>
                  <a:gd name="T20" fmla="*/ 160 w 279"/>
                  <a:gd name="T21" fmla="*/ 114 h 320"/>
                  <a:gd name="T22" fmla="*/ 207 w 279"/>
                  <a:gd name="T23" fmla="*/ 130 h 320"/>
                  <a:gd name="T24" fmla="*/ 217 w 279"/>
                  <a:gd name="T25" fmla="*/ 124 h 320"/>
                  <a:gd name="T26" fmla="*/ 235 w 279"/>
                  <a:gd name="T27" fmla="*/ 153 h 320"/>
                  <a:gd name="T28" fmla="*/ 228 w 279"/>
                  <a:gd name="T29" fmla="*/ 158 h 320"/>
                  <a:gd name="T30" fmla="*/ 210 w 279"/>
                  <a:gd name="T31" fmla="*/ 180 h 320"/>
                  <a:gd name="T32" fmla="*/ 233 w 279"/>
                  <a:gd name="T33" fmla="*/ 183 h 320"/>
                  <a:gd name="T34" fmla="*/ 235 w 279"/>
                  <a:gd name="T35" fmla="*/ 217 h 320"/>
                  <a:gd name="T36" fmla="*/ 217 w 279"/>
                  <a:gd name="T37" fmla="*/ 215 h 320"/>
                  <a:gd name="T38" fmla="*/ 225 w 279"/>
                  <a:gd name="T39" fmla="*/ 205 h 320"/>
                  <a:gd name="T40" fmla="*/ 217 w 279"/>
                  <a:gd name="T41" fmla="*/ 205 h 320"/>
                  <a:gd name="T42" fmla="*/ 121 w 279"/>
                  <a:gd name="T43" fmla="*/ 187 h 320"/>
                  <a:gd name="T44" fmla="*/ 36 w 279"/>
                  <a:gd name="T45" fmla="*/ 253 h 320"/>
                  <a:gd name="T46" fmla="*/ 48 w 279"/>
                  <a:gd name="T47" fmla="*/ 262 h 320"/>
                  <a:gd name="T48" fmla="*/ 87 w 279"/>
                  <a:gd name="T49" fmla="*/ 217 h 320"/>
                  <a:gd name="T50" fmla="*/ 75 w 279"/>
                  <a:gd name="T51" fmla="*/ 240 h 320"/>
                  <a:gd name="T52" fmla="*/ 54 w 279"/>
                  <a:gd name="T53" fmla="*/ 153 h 320"/>
                  <a:gd name="T54" fmla="*/ 18 w 279"/>
                  <a:gd name="T55" fmla="*/ 187 h 320"/>
                  <a:gd name="T56" fmla="*/ 38 w 279"/>
                  <a:gd name="T57" fmla="*/ 224 h 320"/>
                  <a:gd name="T58" fmla="*/ 57 w 279"/>
                  <a:gd name="T59" fmla="*/ 215 h 320"/>
                  <a:gd name="T60" fmla="*/ 64 w 279"/>
                  <a:gd name="T61" fmla="*/ 199 h 320"/>
                  <a:gd name="T62" fmla="*/ 107 w 279"/>
                  <a:gd name="T63" fmla="*/ 183 h 320"/>
                  <a:gd name="T64" fmla="*/ 134 w 279"/>
                  <a:gd name="T65" fmla="*/ 171 h 320"/>
                  <a:gd name="T66" fmla="*/ 144 w 279"/>
                  <a:gd name="T67" fmla="*/ 16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9" h="320">
                    <a:moveTo>
                      <a:pt x="73" y="245"/>
                    </a:moveTo>
                    <a:cubicBezTo>
                      <a:pt x="85" y="244"/>
                      <a:pt x="92" y="235"/>
                      <a:pt x="103" y="238"/>
                    </a:cubicBezTo>
                    <a:cubicBezTo>
                      <a:pt x="106" y="238"/>
                      <a:pt x="105" y="234"/>
                      <a:pt x="105" y="231"/>
                    </a:cubicBezTo>
                    <a:cubicBezTo>
                      <a:pt x="111" y="233"/>
                      <a:pt x="114" y="237"/>
                      <a:pt x="120" y="238"/>
                    </a:cubicBezTo>
                    <a:cubicBezTo>
                      <a:pt x="126" y="238"/>
                      <a:pt x="127" y="234"/>
                      <a:pt x="130" y="231"/>
                    </a:cubicBezTo>
                    <a:cubicBezTo>
                      <a:pt x="135" y="230"/>
                      <a:pt x="134" y="235"/>
                      <a:pt x="137" y="235"/>
                    </a:cubicBezTo>
                    <a:cubicBezTo>
                      <a:pt x="143" y="236"/>
                      <a:pt x="141" y="230"/>
                      <a:pt x="144" y="229"/>
                    </a:cubicBezTo>
                    <a:cubicBezTo>
                      <a:pt x="179" y="235"/>
                      <a:pt x="212" y="236"/>
                      <a:pt x="235" y="258"/>
                    </a:cubicBezTo>
                    <a:cubicBezTo>
                      <a:pt x="204" y="268"/>
                      <a:pt x="171" y="267"/>
                      <a:pt x="143" y="281"/>
                    </a:cubicBezTo>
                    <a:cubicBezTo>
                      <a:pt x="143" y="285"/>
                      <a:pt x="147" y="285"/>
                      <a:pt x="152" y="285"/>
                    </a:cubicBezTo>
                    <a:cubicBezTo>
                      <a:pt x="150" y="288"/>
                      <a:pt x="147" y="289"/>
                      <a:pt x="148" y="295"/>
                    </a:cubicBezTo>
                    <a:cubicBezTo>
                      <a:pt x="143" y="299"/>
                      <a:pt x="123" y="296"/>
                      <a:pt x="123" y="310"/>
                    </a:cubicBezTo>
                    <a:cubicBezTo>
                      <a:pt x="118" y="301"/>
                      <a:pt x="116" y="313"/>
                      <a:pt x="109" y="308"/>
                    </a:cubicBezTo>
                    <a:cubicBezTo>
                      <a:pt x="111" y="313"/>
                      <a:pt x="98" y="310"/>
                      <a:pt x="96" y="317"/>
                    </a:cubicBezTo>
                    <a:cubicBezTo>
                      <a:pt x="90" y="309"/>
                      <a:pt x="82" y="317"/>
                      <a:pt x="77" y="320"/>
                    </a:cubicBezTo>
                    <a:cubicBezTo>
                      <a:pt x="60" y="313"/>
                      <a:pt x="51" y="302"/>
                      <a:pt x="43" y="294"/>
                    </a:cubicBezTo>
                    <a:cubicBezTo>
                      <a:pt x="32" y="295"/>
                      <a:pt x="33" y="314"/>
                      <a:pt x="20" y="308"/>
                    </a:cubicBezTo>
                    <a:cubicBezTo>
                      <a:pt x="22" y="289"/>
                      <a:pt x="8" y="286"/>
                      <a:pt x="0" y="278"/>
                    </a:cubicBezTo>
                    <a:cubicBezTo>
                      <a:pt x="4" y="214"/>
                      <a:pt x="19" y="148"/>
                      <a:pt x="36" y="87"/>
                    </a:cubicBezTo>
                    <a:cubicBezTo>
                      <a:pt x="39" y="50"/>
                      <a:pt x="52" y="22"/>
                      <a:pt x="70" y="0"/>
                    </a:cubicBezTo>
                    <a:cubicBezTo>
                      <a:pt x="60" y="42"/>
                      <a:pt x="41" y="103"/>
                      <a:pt x="36" y="144"/>
                    </a:cubicBezTo>
                    <a:cubicBezTo>
                      <a:pt x="69" y="125"/>
                      <a:pt x="122" y="106"/>
                      <a:pt x="160" y="114"/>
                    </a:cubicBezTo>
                    <a:cubicBezTo>
                      <a:pt x="163" y="113"/>
                      <a:pt x="160" y="111"/>
                      <a:pt x="160" y="108"/>
                    </a:cubicBezTo>
                    <a:cubicBezTo>
                      <a:pt x="177" y="115"/>
                      <a:pt x="200" y="114"/>
                      <a:pt x="207" y="130"/>
                    </a:cubicBezTo>
                    <a:cubicBezTo>
                      <a:pt x="211" y="129"/>
                      <a:pt x="207" y="123"/>
                      <a:pt x="205" y="123"/>
                    </a:cubicBezTo>
                    <a:cubicBezTo>
                      <a:pt x="206" y="119"/>
                      <a:pt x="215" y="134"/>
                      <a:pt x="217" y="124"/>
                    </a:cubicBezTo>
                    <a:cubicBezTo>
                      <a:pt x="220" y="124"/>
                      <a:pt x="220" y="135"/>
                      <a:pt x="221" y="126"/>
                    </a:cubicBezTo>
                    <a:cubicBezTo>
                      <a:pt x="228" y="133"/>
                      <a:pt x="228" y="146"/>
                      <a:pt x="235" y="153"/>
                    </a:cubicBezTo>
                    <a:cubicBezTo>
                      <a:pt x="232" y="158"/>
                      <a:pt x="227" y="149"/>
                      <a:pt x="228" y="144"/>
                    </a:cubicBezTo>
                    <a:cubicBezTo>
                      <a:pt x="223" y="147"/>
                      <a:pt x="230" y="152"/>
                      <a:pt x="228" y="158"/>
                    </a:cubicBezTo>
                    <a:cubicBezTo>
                      <a:pt x="223" y="158"/>
                      <a:pt x="218" y="165"/>
                      <a:pt x="212" y="158"/>
                    </a:cubicBezTo>
                    <a:cubicBezTo>
                      <a:pt x="219" y="169"/>
                      <a:pt x="201" y="166"/>
                      <a:pt x="210" y="180"/>
                    </a:cubicBezTo>
                    <a:cubicBezTo>
                      <a:pt x="220" y="181"/>
                      <a:pt x="226" y="183"/>
                      <a:pt x="235" y="190"/>
                    </a:cubicBezTo>
                    <a:cubicBezTo>
                      <a:pt x="240" y="189"/>
                      <a:pt x="231" y="188"/>
                      <a:pt x="233" y="183"/>
                    </a:cubicBezTo>
                    <a:cubicBezTo>
                      <a:pt x="258" y="185"/>
                      <a:pt x="279" y="205"/>
                      <a:pt x="265" y="224"/>
                    </a:cubicBezTo>
                    <a:cubicBezTo>
                      <a:pt x="251" y="225"/>
                      <a:pt x="248" y="222"/>
                      <a:pt x="235" y="217"/>
                    </a:cubicBezTo>
                    <a:cubicBezTo>
                      <a:pt x="236" y="213"/>
                      <a:pt x="241" y="214"/>
                      <a:pt x="237" y="210"/>
                    </a:cubicBezTo>
                    <a:cubicBezTo>
                      <a:pt x="229" y="210"/>
                      <a:pt x="229" y="218"/>
                      <a:pt x="217" y="215"/>
                    </a:cubicBezTo>
                    <a:cubicBezTo>
                      <a:pt x="218" y="209"/>
                      <a:pt x="221" y="214"/>
                      <a:pt x="226" y="212"/>
                    </a:cubicBezTo>
                    <a:cubicBezTo>
                      <a:pt x="227" y="208"/>
                      <a:pt x="224" y="208"/>
                      <a:pt x="225" y="205"/>
                    </a:cubicBezTo>
                    <a:cubicBezTo>
                      <a:pt x="218" y="204"/>
                      <a:pt x="207" y="210"/>
                      <a:pt x="201" y="205"/>
                    </a:cubicBezTo>
                    <a:cubicBezTo>
                      <a:pt x="202" y="196"/>
                      <a:pt x="212" y="206"/>
                      <a:pt x="217" y="205"/>
                    </a:cubicBezTo>
                    <a:cubicBezTo>
                      <a:pt x="216" y="197"/>
                      <a:pt x="205" y="202"/>
                      <a:pt x="200" y="194"/>
                    </a:cubicBezTo>
                    <a:cubicBezTo>
                      <a:pt x="172" y="192"/>
                      <a:pt x="147" y="182"/>
                      <a:pt x="121" y="187"/>
                    </a:cubicBezTo>
                    <a:cubicBezTo>
                      <a:pt x="91" y="193"/>
                      <a:pt x="73" y="212"/>
                      <a:pt x="59" y="238"/>
                    </a:cubicBezTo>
                    <a:cubicBezTo>
                      <a:pt x="48" y="240"/>
                      <a:pt x="48" y="252"/>
                      <a:pt x="36" y="253"/>
                    </a:cubicBezTo>
                    <a:cubicBezTo>
                      <a:pt x="34" y="260"/>
                      <a:pt x="36" y="259"/>
                      <a:pt x="36" y="267"/>
                    </a:cubicBezTo>
                    <a:cubicBezTo>
                      <a:pt x="42" y="267"/>
                      <a:pt x="43" y="262"/>
                      <a:pt x="48" y="262"/>
                    </a:cubicBezTo>
                    <a:cubicBezTo>
                      <a:pt x="50" y="256"/>
                      <a:pt x="46" y="257"/>
                      <a:pt x="47" y="253"/>
                    </a:cubicBezTo>
                    <a:cubicBezTo>
                      <a:pt x="65" y="245"/>
                      <a:pt x="66" y="221"/>
                      <a:pt x="87" y="217"/>
                    </a:cubicBezTo>
                    <a:cubicBezTo>
                      <a:pt x="79" y="231"/>
                      <a:pt x="65" y="240"/>
                      <a:pt x="59" y="256"/>
                    </a:cubicBezTo>
                    <a:cubicBezTo>
                      <a:pt x="67" y="253"/>
                      <a:pt x="68" y="244"/>
                      <a:pt x="75" y="240"/>
                    </a:cubicBezTo>
                    <a:cubicBezTo>
                      <a:pt x="78" y="235"/>
                      <a:pt x="74" y="244"/>
                      <a:pt x="73" y="245"/>
                    </a:cubicBezTo>
                    <a:close/>
                    <a:moveTo>
                      <a:pt x="54" y="153"/>
                    </a:moveTo>
                    <a:cubicBezTo>
                      <a:pt x="55" y="153"/>
                      <a:pt x="56" y="153"/>
                      <a:pt x="55" y="155"/>
                    </a:cubicBezTo>
                    <a:cubicBezTo>
                      <a:pt x="27" y="149"/>
                      <a:pt x="30" y="187"/>
                      <a:pt x="18" y="187"/>
                    </a:cubicBezTo>
                    <a:cubicBezTo>
                      <a:pt x="27" y="201"/>
                      <a:pt x="20" y="236"/>
                      <a:pt x="38" y="231"/>
                    </a:cubicBezTo>
                    <a:cubicBezTo>
                      <a:pt x="35" y="233"/>
                      <a:pt x="35" y="223"/>
                      <a:pt x="38" y="224"/>
                    </a:cubicBezTo>
                    <a:cubicBezTo>
                      <a:pt x="38" y="226"/>
                      <a:pt x="38" y="228"/>
                      <a:pt x="41" y="228"/>
                    </a:cubicBezTo>
                    <a:cubicBezTo>
                      <a:pt x="41" y="214"/>
                      <a:pt x="49" y="219"/>
                      <a:pt x="57" y="215"/>
                    </a:cubicBezTo>
                    <a:cubicBezTo>
                      <a:pt x="59" y="209"/>
                      <a:pt x="51" y="212"/>
                      <a:pt x="50" y="208"/>
                    </a:cubicBezTo>
                    <a:cubicBezTo>
                      <a:pt x="60" y="211"/>
                      <a:pt x="62" y="205"/>
                      <a:pt x="64" y="199"/>
                    </a:cubicBezTo>
                    <a:cubicBezTo>
                      <a:pt x="78" y="200"/>
                      <a:pt x="93" y="186"/>
                      <a:pt x="107" y="180"/>
                    </a:cubicBezTo>
                    <a:cubicBezTo>
                      <a:pt x="107" y="182"/>
                      <a:pt x="104" y="182"/>
                      <a:pt x="107" y="183"/>
                    </a:cubicBezTo>
                    <a:cubicBezTo>
                      <a:pt x="110" y="180"/>
                      <a:pt x="114" y="177"/>
                      <a:pt x="121" y="178"/>
                    </a:cubicBezTo>
                    <a:cubicBezTo>
                      <a:pt x="120" y="169"/>
                      <a:pt x="129" y="169"/>
                      <a:pt x="134" y="171"/>
                    </a:cubicBezTo>
                    <a:cubicBezTo>
                      <a:pt x="136" y="164"/>
                      <a:pt x="129" y="166"/>
                      <a:pt x="128" y="162"/>
                    </a:cubicBezTo>
                    <a:cubicBezTo>
                      <a:pt x="133" y="157"/>
                      <a:pt x="138" y="163"/>
                      <a:pt x="144" y="162"/>
                    </a:cubicBezTo>
                    <a:cubicBezTo>
                      <a:pt x="123" y="141"/>
                      <a:pt x="80" y="141"/>
                      <a:pt x="54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4" name="Freeform 16"/>
              <p:cNvSpPr>
                <a:spLocks noEditPoints="1"/>
              </p:cNvSpPr>
              <p:nvPr/>
            </p:nvSpPr>
            <p:spPr bwMode="auto">
              <a:xfrm>
                <a:off x="1080" y="1869"/>
                <a:ext cx="344" cy="159"/>
              </a:xfrm>
              <a:custGeom>
                <a:avLst/>
                <a:gdLst>
                  <a:gd name="T0" fmla="*/ 9 w 283"/>
                  <a:gd name="T1" fmla="*/ 71 h 131"/>
                  <a:gd name="T2" fmla="*/ 22 w 283"/>
                  <a:gd name="T3" fmla="*/ 25 h 131"/>
                  <a:gd name="T4" fmla="*/ 31 w 283"/>
                  <a:gd name="T5" fmla="*/ 18 h 131"/>
                  <a:gd name="T6" fmla="*/ 32 w 283"/>
                  <a:gd name="T7" fmla="*/ 28 h 131"/>
                  <a:gd name="T8" fmla="*/ 89 w 283"/>
                  <a:gd name="T9" fmla="*/ 10 h 131"/>
                  <a:gd name="T10" fmla="*/ 157 w 283"/>
                  <a:gd name="T11" fmla="*/ 0 h 131"/>
                  <a:gd name="T12" fmla="*/ 262 w 283"/>
                  <a:gd name="T13" fmla="*/ 37 h 131"/>
                  <a:gd name="T14" fmla="*/ 283 w 283"/>
                  <a:gd name="T15" fmla="*/ 62 h 131"/>
                  <a:gd name="T16" fmla="*/ 218 w 283"/>
                  <a:gd name="T17" fmla="*/ 35 h 131"/>
                  <a:gd name="T18" fmla="*/ 88 w 283"/>
                  <a:gd name="T19" fmla="*/ 46 h 131"/>
                  <a:gd name="T20" fmla="*/ 86 w 283"/>
                  <a:gd name="T21" fmla="*/ 53 h 131"/>
                  <a:gd name="T22" fmla="*/ 63 w 283"/>
                  <a:gd name="T23" fmla="*/ 71 h 131"/>
                  <a:gd name="T24" fmla="*/ 72 w 283"/>
                  <a:gd name="T25" fmla="*/ 69 h 131"/>
                  <a:gd name="T26" fmla="*/ 80 w 283"/>
                  <a:gd name="T27" fmla="*/ 82 h 131"/>
                  <a:gd name="T28" fmla="*/ 93 w 283"/>
                  <a:gd name="T29" fmla="*/ 78 h 131"/>
                  <a:gd name="T30" fmla="*/ 114 w 283"/>
                  <a:gd name="T31" fmla="*/ 76 h 131"/>
                  <a:gd name="T32" fmla="*/ 226 w 283"/>
                  <a:gd name="T33" fmla="*/ 128 h 131"/>
                  <a:gd name="T34" fmla="*/ 193 w 283"/>
                  <a:gd name="T35" fmla="*/ 121 h 131"/>
                  <a:gd name="T36" fmla="*/ 86 w 283"/>
                  <a:gd name="T37" fmla="*/ 98 h 131"/>
                  <a:gd name="T38" fmla="*/ 77 w 283"/>
                  <a:gd name="T39" fmla="*/ 96 h 131"/>
                  <a:gd name="T40" fmla="*/ 73 w 283"/>
                  <a:gd name="T41" fmla="*/ 103 h 131"/>
                  <a:gd name="T42" fmla="*/ 61 w 283"/>
                  <a:gd name="T43" fmla="*/ 99 h 131"/>
                  <a:gd name="T44" fmla="*/ 47 w 283"/>
                  <a:gd name="T45" fmla="*/ 107 h 131"/>
                  <a:gd name="T46" fmla="*/ 59 w 283"/>
                  <a:gd name="T47" fmla="*/ 89 h 131"/>
                  <a:gd name="T48" fmla="*/ 64 w 283"/>
                  <a:gd name="T49" fmla="*/ 91 h 131"/>
                  <a:gd name="T50" fmla="*/ 56 w 283"/>
                  <a:gd name="T51" fmla="*/ 87 h 131"/>
                  <a:gd name="T52" fmla="*/ 64 w 283"/>
                  <a:gd name="T53" fmla="*/ 75 h 131"/>
                  <a:gd name="T54" fmla="*/ 54 w 283"/>
                  <a:gd name="T55" fmla="*/ 82 h 131"/>
                  <a:gd name="T56" fmla="*/ 41 w 283"/>
                  <a:gd name="T57" fmla="*/ 76 h 131"/>
                  <a:gd name="T58" fmla="*/ 22 w 283"/>
                  <a:gd name="T59" fmla="*/ 76 h 131"/>
                  <a:gd name="T60" fmla="*/ 23 w 283"/>
                  <a:gd name="T61" fmla="*/ 60 h 131"/>
                  <a:gd name="T62" fmla="*/ 16 w 283"/>
                  <a:gd name="T63" fmla="*/ 75 h 131"/>
                  <a:gd name="T64" fmla="*/ 4 w 283"/>
                  <a:gd name="T65" fmla="*/ 69 h 131"/>
                  <a:gd name="T66" fmla="*/ 4 w 283"/>
                  <a:gd name="T67" fmla="*/ 57 h 131"/>
                  <a:gd name="T68" fmla="*/ 6 w 283"/>
                  <a:gd name="T69" fmla="*/ 66 h 131"/>
                  <a:gd name="T70" fmla="*/ 9 w 283"/>
                  <a:gd name="T71" fmla="*/ 71 h 131"/>
                  <a:gd name="T72" fmla="*/ 66 w 283"/>
                  <a:gd name="T73" fmla="*/ 85 h 131"/>
                  <a:gd name="T74" fmla="*/ 77 w 283"/>
                  <a:gd name="T75" fmla="*/ 83 h 131"/>
                  <a:gd name="T76" fmla="*/ 66 w 283"/>
                  <a:gd name="T77" fmla="*/ 8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3" h="131">
                    <a:moveTo>
                      <a:pt x="9" y="71"/>
                    </a:moveTo>
                    <a:cubicBezTo>
                      <a:pt x="12" y="60"/>
                      <a:pt x="25" y="42"/>
                      <a:pt x="22" y="25"/>
                    </a:cubicBezTo>
                    <a:cubicBezTo>
                      <a:pt x="26" y="33"/>
                      <a:pt x="27" y="20"/>
                      <a:pt x="31" y="18"/>
                    </a:cubicBezTo>
                    <a:cubicBezTo>
                      <a:pt x="35" y="20"/>
                      <a:pt x="34" y="24"/>
                      <a:pt x="32" y="28"/>
                    </a:cubicBezTo>
                    <a:cubicBezTo>
                      <a:pt x="46" y="19"/>
                      <a:pt x="69" y="3"/>
                      <a:pt x="89" y="10"/>
                    </a:cubicBezTo>
                    <a:cubicBezTo>
                      <a:pt x="111" y="1"/>
                      <a:pt x="138" y="8"/>
                      <a:pt x="157" y="0"/>
                    </a:cubicBezTo>
                    <a:cubicBezTo>
                      <a:pt x="197" y="8"/>
                      <a:pt x="227" y="24"/>
                      <a:pt x="262" y="37"/>
                    </a:cubicBezTo>
                    <a:cubicBezTo>
                      <a:pt x="263" y="52"/>
                      <a:pt x="280" y="50"/>
                      <a:pt x="283" y="62"/>
                    </a:cubicBezTo>
                    <a:cubicBezTo>
                      <a:pt x="262" y="60"/>
                      <a:pt x="247" y="35"/>
                      <a:pt x="218" y="35"/>
                    </a:cubicBezTo>
                    <a:cubicBezTo>
                      <a:pt x="174" y="14"/>
                      <a:pt x="124" y="25"/>
                      <a:pt x="88" y="46"/>
                    </a:cubicBezTo>
                    <a:cubicBezTo>
                      <a:pt x="86" y="48"/>
                      <a:pt x="86" y="50"/>
                      <a:pt x="86" y="53"/>
                    </a:cubicBezTo>
                    <a:cubicBezTo>
                      <a:pt x="74" y="55"/>
                      <a:pt x="68" y="63"/>
                      <a:pt x="63" y="71"/>
                    </a:cubicBezTo>
                    <a:cubicBezTo>
                      <a:pt x="65" y="77"/>
                      <a:pt x="67" y="67"/>
                      <a:pt x="72" y="69"/>
                    </a:cubicBezTo>
                    <a:cubicBezTo>
                      <a:pt x="70" y="78"/>
                      <a:pt x="78" y="77"/>
                      <a:pt x="80" y="82"/>
                    </a:cubicBezTo>
                    <a:cubicBezTo>
                      <a:pt x="87" y="83"/>
                      <a:pt x="90" y="80"/>
                      <a:pt x="93" y="78"/>
                    </a:cubicBezTo>
                    <a:cubicBezTo>
                      <a:pt x="97" y="83"/>
                      <a:pt x="108" y="80"/>
                      <a:pt x="114" y="76"/>
                    </a:cubicBezTo>
                    <a:cubicBezTo>
                      <a:pt x="156" y="82"/>
                      <a:pt x="215" y="89"/>
                      <a:pt x="226" y="128"/>
                    </a:cubicBezTo>
                    <a:cubicBezTo>
                      <a:pt x="210" y="131"/>
                      <a:pt x="205" y="116"/>
                      <a:pt x="193" y="121"/>
                    </a:cubicBezTo>
                    <a:cubicBezTo>
                      <a:pt x="170" y="97"/>
                      <a:pt x="123" y="82"/>
                      <a:pt x="86" y="98"/>
                    </a:cubicBezTo>
                    <a:cubicBezTo>
                      <a:pt x="82" y="98"/>
                      <a:pt x="79" y="97"/>
                      <a:pt x="77" y="96"/>
                    </a:cubicBezTo>
                    <a:cubicBezTo>
                      <a:pt x="75" y="98"/>
                      <a:pt x="77" y="100"/>
                      <a:pt x="73" y="103"/>
                    </a:cubicBezTo>
                    <a:cubicBezTo>
                      <a:pt x="66" y="105"/>
                      <a:pt x="65" y="104"/>
                      <a:pt x="61" y="99"/>
                    </a:cubicBezTo>
                    <a:cubicBezTo>
                      <a:pt x="58" y="103"/>
                      <a:pt x="51" y="110"/>
                      <a:pt x="47" y="107"/>
                    </a:cubicBezTo>
                    <a:cubicBezTo>
                      <a:pt x="49" y="103"/>
                      <a:pt x="58" y="99"/>
                      <a:pt x="59" y="89"/>
                    </a:cubicBezTo>
                    <a:cubicBezTo>
                      <a:pt x="62" y="90"/>
                      <a:pt x="60" y="94"/>
                      <a:pt x="64" y="91"/>
                    </a:cubicBezTo>
                    <a:cubicBezTo>
                      <a:pt x="63" y="88"/>
                      <a:pt x="60" y="87"/>
                      <a:pt x="56" y="87"/>
                    </a:cubicBezTo>
                    <a:cubicBezTo>
                      <a:pt x="56" y="80"/>
                      <a:pt x="63" y="80"/>
                      <a:pt x="64" y="75"/>
                    </a:cubicBezTo>
                    <a:cubicBezTo>
                      <a:pt x="58" y="75"/>
                      <a:pt x="57" y="79"/>
                      <a:pt x="54" y="82"/>
                    </a:cubicBezTo>
                    <a:cubicBezTo>
                      <a:pt x="47" y="75"/>
                      <a:pt x="41" y="85"/>
                      <a:pt x="41" y="76"/>
                    </a:cubicBezTo>
                    <a:cubicBezTo>
                      <a:pt x="35" y="77"/>
                      <a:pt x="34" y="75"/>
                      <a:pt x="22" y="76"/>
                    </a:cubicBezTo>
                    <a:cubicBezTo>
                      <a:pt x="18" y="70"/>
                      <a:pt x="25" y="69"/>
                      <a:pt x="23" y="60"/>
                    </a:cubicBezTo>
                    <a:cubicBezTo>
                      <a:pt x="20" y="64"/>
                      <a:pt x="18" y="69"/>
                      <a:pt x="16" y="75"/>
                    </a:cubicBezTo>
                    <a:cubicBezTo>
                      <a:pt x="10" y="76"/>
                      <a:pt x="7" y="65"/>
                      <a:pt x="4" y="69"/>
                    </a:cubicBezTo>
                    <a:cubicBezTo>
                      <a:pt x="0" y="68"/>
                      <a:pt x="2" y="58"/>
                      <a:pt x="4" y="57"/>
                    </a:cubicBezTo>
                    <a:cubicBezTo>
                      <a:pt x="9" y="59"/>
                      <a:pt x="10" y="62"/>
                      <a:pt x="6" y="66"/>
                    </a:cubicBezTo>
                    <a:cubicBezTo>
                      <a:pt x="7" y="67"/>
                      <a:pt x="10" y="67"/>
                      <a:pt x="9" y="71"/>
                    </a:cubicBezTo>
                    <a:close/>
                    <a:moveTo>
                      <a:pt x="66" y="85"/>
                    </a:moveTo>
                    <a:cubicBezTo>
                      <a:pt x="69" y="88"/>
                      <a:pt x="75" y="86"/>
                      <a:pt x="77" y="83"/>
                    </a:cubicBezTo>
                    <a:cubicBezTo>
                      <a:pt x="74" y="80"/>
                      <a:pt x="68" y="82"/>
                      <a:pt x="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5" name="Freeform 17"/>
              <p:cNvSpPr>
                <a:spLocks noEditPoints="1"/>
              </p:cNvSpPr>
              <p:nvPr/>
            </p:nvSpPr>
            <p:spPr bwMode="auto">
              <a:xfrm>
                <a:off x="340" y="1961"/>
                <a:ext cx="620" cy="1164"/>
              </a:xfrm>
              <a:custGeom>
                <a:avLst/>
                <a:gdLst>
                  <a:gd name="T0" fmla="*/ 207 w 510"/>
                  <a:gd name="T1" fmla="*/ 116 h 958"/>
                  <a:gd name="T2" fmla="*/ 184 w 510"/>
                  <a:gd name="T3" fmla="*/ 223 h 958"/>
                  <a:gd name="T4" fmla="*/ 179 w 510"/>
                  <a:gd name="T5" fmla="*/ 344 h 958"/>
                  <a:gd name="T6" fmla="*/ 191 w 510"/>
                  <a:gd name="T7" fmla="*/ 401 h 958"/>
                  <a:gd name="T8" fmla="*/ 207 w 510"/>
                  <a:gd name="T9" fmla="*/ 499 h 958"/>
                  <a:gd name="T10" fmla="*/ 257 w 510"/>
                  <a:gd name="T11" fmla="*/ 518 h 958"/>
                  <a:gd name="T12" fmla="*/ 396 w 510"/>
                  <a:gd name="T13" fmla="*/ 657 h 958"/>
                  <a:gd name="T14" fmla="*/ 458 w 510"/>
                  <a:gd name="T15" fmla="*/ 707 h 958"/>
                  <a:gd name="T16" fmla="*/ 504 w 510"/>
                  <a:gd name="T17" fmla="*/ 771 h 958"/>
                  <a:gd name="T18" fmla="*/ 504 w 510"/>
                  <a:gd name="T19" fmla="*/ 782 h 958"/>
                  <a:gd name="T20" fmla="*/ 506 w 510"/>
                  <a:gd name="T21" fmla="*/ 819 h 958"/>
                  <a:gd name="T22" fmla="*/ 504 w 510"/>
                  <a:gd name="T23" fmla="*/ 858 h 958"/>
                  <a:gd name="T24" fmla="*/ 479 w 510"/>
                  <a:gd name="T25" fmla="*/ 862 h 958"/>
                  <a:gd name="T26" fmla="*/ 430 w 510"/>
                  <a:gd name="T27" fmla="*/ 828 h 958"/>
                  <a:gd name="T28" fmla="*/ 369 w 510"/>
                  <a:gd name="T29" fmla="*/ 826 h 958"/>
                  <a:gd name="T30" fmla="*/ 357 w 510"/>
                  <a:gd name="T31" fmla="*/ 819 h 958"/>
                  <a:gd name="T32" fmla="*/ 323 w 510"/>
                  <a:gd name="T33" fmla="*/ 928 h 958"/>
                  <a:gd name="T34" fmla="*/ 305 w 510"/>
                  <a:gd name="T35" fmla="*/ 828 h 958"/>
                  <a:gd name="T36" fmla="*/ 276 w 510"/>
                  <a:gd name="T37" fmla="*/ 955 h 958"/>
                  <a:gd name="T38" fmla="*/ 257 w 510"/>
                  <a:gd name="T39" fmla="*/ 887 h 958"/>
                  <a:gd name="T40" fmla="*/ 180 w 510"/>
                  <a:gd name="T41" fmla="*/ 844 h 958"/>
                  <a:gd name="T42" fmla="*/ 317 w 510"/>
                  <a:gd name="T43" fmla="*/ 755 h 958"/>
                  <a:gd name="T44" fmla="*/ 264 w 510"/>
                  <a:gd name="T45" fmla="*/ 670 h 958"/>
                  <a:gd name="T46" fmla="*/ 218 w 510"/>
                  <a:gd name="T47" fmla="*/ 566 h 958"/>
                  <a:gd name="T48" fmla="*/ 187 w 510"/>
                  <a:gd name="T49" fmla="*/ 570 h 958"/>
                  <a:gd name="T50" fmla="*/ 106 w 510"/>
                  <a:gd name="T51" fmla="*/ 517 h 958"/>
                  <a:gd name="T52" fmla="*/ 66 w 510"/>
                  <a:gd name="T53" fmla="*/ 490 h 958"/>
                  <a:gd name="T54" fmla="*/ 2 w 510"/>
                  <a:gd name="T55" fmla="*/ 346 h 958"/>
                  <a:gd name="T56" fmla="*/ 66 w 510"/>
                  <a:gd name="T57" fmla="*/ 184 h 958"/>
                  <a:gd name="T58" fmla="*/ 136 w 510"/>
                  <a:gd name="T59" fmla="*/ 177 h 958"/>
                  <a:gd name="T60" fmla="*/ 102 w 510"/>
                  <a:gd name="T61" fmla="*/ 136 h 958"/>
                  <a:gd name="T62" fmla="*/ 123 w 510"/>
                  <a:gd name="T63" fmla="*/ 121 h 958"/>
                  <a:gd name="T64" fmla="*/ 148 w 510"/>
                  <a:gd name="T65" fmla="*/ 95 h 958"/>
                  <a:gd name="T66" fmla="*/ 171 w 510"/>
                  <a:gd name="T67" fmla="*/ 57 h 958"/>
                  <a:gd name="T68" fmla="*/ 155 w 510"/>
                  <a:gd name="T69" fmla="*/ 16 h 958"/>
                  <a:gd name="T70" fmla="*/ 195 w 510"/>
                  <a:gd name="T71" fmla="*/ 509 h 958"/>
                  <a:gd name="T72" fmla="*/ 187 w 510"/>
                  <a:gd name="T73" fmla="*/ 189 h 958"/>
                  <a:gd name="T74" fmla="*/ 47 w 510"/>
                  <a:gd name="T75" fmla="*/ 205 h 958"/>
                  <a:gd name="T76" fmla="*/ 36 w 510"/>
                  <a:gd name="T77" fmla="*/ 267 h 958"/>
                  <a:gd name="T78" fmla="*/ 159 w 510"/>
                  <a:gd name="T79" fmla="*/ 241 h 958"/>
                  <a:gd name="T80" fmla="*/ 122 w 510"/>
                  <a:gd name="T81" fmla="*/ 225 h 958"/>
                  <a:gd name="T82" fmla="*/ 186 w 510"/>
                  <a:gd name="T83" fmla="*/ 255 h 958"/>
                  <a:gd name="T84" fmla="*/ 109 w 510"/>
                  <a:gd name="T85" fmla="*/ 273 h 958"/>
                  <a:gd name="T86" fmla="*/ 82 w 510"/>
                  <a:gd name="T87" fmla="*/ 461 h 958"/>
                  <a:gd name="T88" fmla="*/ 20 w 510"/>
                  <a:gd name="T89" fmla="*/ 340 h 958"/>
                  <a:gd name="T90" fmla="*/ 152 w 510"/>
                  <a:gd name="T91" fmla="*/ 485 h 958"/>
                  <a:gd name="T92" fmla="*/ 127 w 510"/>
                  <a:gd name="T93" fmla="*/ 479 h 958"/>
                  <a:gd name="T94" fmla="*/ 216 w 510"/>
                  <a:gd name="T95" fmla="*/ 549 h 958"/>
                  <a:gd name="T96" fmla="*/ 218 w 510"/>
                  <a:gd name="T97" fmla="*/ 559 h 958"/>
                  <a:gd name="T98" fmla="*/ 159 w 510"/>
                  <a:gd name="T99" fmla="*/ 563 h 958"/>
                  <a:gd name="T100" fmla="*/ 120 w 510"/>
                  <a:gd name="T101" fmla="*/ 590 h 958"/>
                  <a:gd name="T102" fmla="*/ 298 w 510"/>
                  <a:gd name="T103" fmla="*/ 604 h 958"/>
                  <a:gd name="T104" fmla="*/ 276 w 510"/>
                  <a:gd name="T105" fmla="*/ 664 h 958"/>
                  <a:gd name="T106" fmla="*/ 264 w 510"/>
                  <a:gd name="T107" fmla="*/ 805 h 958"/>
                  <a:gd name="T108" fmla="*/ 390 w 510"/>
                  <a:gd name="T109" fmla="*/ 809 h 958"/>
                  <a:gd name="T110" fmla="*/ 399 w 510"/>
                  <a:gd name="T111" fmla="*/ 803 h 958"/>
                  <a:gd name="T112" fmla="*/ 373 w 510"/>
                  <a:gd name="T113" fmla="*/ 812 h 958"/>
                  <a:gd name="T114" fmla="*/ 257 w 510"/>
                  <a:gd name="T115" fmla="*/ 846 h 958"/>
                  <a:gd name="T116" fmla="*/ 257 w 510"/>
                  <a:gd name="T117" fmla="*/ 848 h 958"/>
                  <a:gd name="T118" fmla="*/ 216 w 510"/>
                  <a:gd name="T119" fmla="*/ 89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10" h="958">
                    <a:moveTo>
                      <a:pt x="170" y="75"/>
                    </a:moveTo>
                    <a:cubicBezTo>
                      <a:pt x="175" y="81"/>
                      <a:pt x="174" y="61"/>
                      <a:pt x="180" y="72"/>
                    </a:cubicBezTo>
                    <a:cubicBezTo>
                      <a:pt x="180" y="60"/>
                      <a:pt x="180" y="49"/>
                      <a:pt x="180" y="38"/>
                    </a:cubicBezTo>
                    <a:cubicBezTo>
                      <a:pt x="188" y="59"/>
                      <a:pt x="195" y="90"/>
                      <a:pt x="203" y="116"/>
                    </a:cubicBezTo>
                    <a:cubicBezTo>
                      <a:pt x="204" y="118"/>
                      <a:pt x="207" y="118"/>
                      <a:pt x="207" y="116"/>
                    </a:cubicBezTo>
                    <a:cubicBezTo>
                      <a:pt x="213" y="129"/>
                      <a:pt x="207" y="144"/>
                      <a:pt x="214" y="155"/>
                    </a:cubicBezTo>
                    <a:cubicBezTo>
                      <a:pt x="208" y="154"/>
                      <a:pt x="205" y="157"/>
                      <a:pt x="203" y="161"/>
                    </a:cubicBezTo>
                    <a:cubicBezTo>
                      <a:pt x="206" y="174"/>
                      <a:pt x="193" y="197"/>
                      <a:pt x="196" y="226"/>
                    </a:cubicBezTo>
                    <a:cubicBezTo>
                      <a:pt x="188" y="223"/>
                      <a:pt x="192" y="208"/>
                      <a:pt x="187" y="201"/>
                    </a:cubicBezTo>
                    <a:cubicBezTo>
                      <a:pt x="182" y="204"/>
                      <a:pt x="193" y="227"/>
                      <a:pt x="184" y="223"/>
                    </a:cubicBezTo>
                    <a:cubicBezTo>
                      <a:pt x="209" y="250"/>
                      <a:pt x="191" y="309"/>
                      <a:pt x="195" y="351"/>
                    </a:cubicBezTo>
                    <a:cubicBezTo>
                      <a:pt x="195" y="357"/>
                      <a:pt x="187" y="354"/>
                      <a:pt x="189" y="362"/>
                    </a:cubicBezTo>
                    <a:cubicBezTo>
                      <a:pt x="191" y="367"/>
                      <a:pt x="192" y="358"/>
                      <a:pt x="196" y="360"/>
                    </a:cubicBezTo>
                    <a:cubicBezTo>
                      <a:pt x="197" y="372"/>
                      <a:pt x="197" y="383"/>
                      <a:pt x="191" y="388"/>
                    </a:cubicBezTo>
                    <a:cubicBezTo>
                      <a:pt x="179" y="381"/>
                      <a:pt x="181" y="360"/>
                      <a:pt x="179" y="344"/>
                    </a:cubicBezTo>
                    <a:cubicBezTo>
                      <a:pt x="166" y="346"/>
                      <a:pt x="160" y="371"/>
                      <a:pt x="157" y="388"/>
                    </a:cubicBezTo>
                    <a:cubicBezTo>
                      <a:pt x="153" y="414"/>
                      <a:pt x="156" y="451"/>
                      <a:pt x="168" y="469"/>
                    </a:cubicBezTo>
                    <a:cubicBezTo>
                      <a:pt x="182" y="459"/>
                      <a:pt x="197" y="441"/>
                      <a:pt x="191" y="417"/>
                    </a:cubicBezTo>
                    <a:cubicBezTo>
                      <a:pt x="194" y="415"/>
                      <a:pt x="198" y="413"/>
                      <a:pt x="198" y="408"/>
                    </a:cubicBezTo>
                    <a:cubicBezTo>
                      <a:pt x="197" y="404"/>
                      <a:pt x="197" y="400"/>
                      <a:pt x="191" y="401"/>
                    </a:cubicBezTo>
                    <a:cubicBezTo>
                      <a:pt x="191" y="393"/>
                      <a:pt x="197" y="391"/>
                      <a:pt x="198" y="385"/>
                    </a:cubicBezTo>
                    <a:cubicBezTo>
                      <a:pt x="202" y="406"/>
                      <a:pt x="214" y="420"/>
                      <a:pt x="219" y="431"/>
                    </a:cubicBezTo>
                    <a:cubicBezTo>
                      <a:pt x="222" y="430"/>
                      <a:pt x="221" y="426"/>
                      <a:pt x="227" y="428"/>
                    </a:cubicBezTo>
                    <a:cubicBezTo>
                      <a:pt x="241" y="442"/>
                      <a:pt x="220" y="473"/>
                      <a:pt x="203" y="486"/>
                    </a:cubicBezTo>
                    <a:cubicBezTo>
                      <a:pt x="202" y="493"/>
                      <a:pt x="206" y="495"/>
                      <a:pt x="207" y="499"/>
                    </a:cubicBezTo>
                    <a:cubicBezTo>
                      <a:pt x="218" y="494"/>
                      <a:pt x="218" y="479"/>
                      <a:pt x="232" y="477"/>
                    </a:cubicBezTo>
                    <a:cubicBezTo>
                      <a:pt x="230" y="470"/>
                      <a:pt x="234" y="467"/>
                      <a:pt x="237" y="465"/>
                    </a:cubicBezTo>
                    <a:cubicBezTo>
                      <a:pt x="252" y="478"/>
                      <a:pt x="241" y="492"/>
                      <a:pt x="230" y="501"/>
                    </a:cubicBezTo>
                    <a:cubicBezTo>
                      <a:pt x="235" y="510"/>
                      <a:pt x="244" y="500"/>
                      <a:pt x="252" y="501"/>
                    </a:cubicBezTo>
                    <a:cubicBezTo>
                      <a:pt x="253" y="507"/>
                      <a:pt x="256" y="512"/>
                      <a:pt x="257" y="518"/>
                    </a:cubicBezTo>
                    <a:cubicBezTo>
                      <a:pt x="239" y="527"/>
                      <a:pt x="230" y="544"/>
                      <a:pt x="223" y="563"/>
                    </a:cubicBezTo>
                    <a:cubicBezTo>
                      <a:pt x="237" y="570"/>
                      <a:pt x="274" y="580"/>
                      <a:pt x="275" y="556"/>
                    </a:cubicBezTo>
                    <a:cubicBezTo>
                      <a:pt x="289" y="577"/>
                      <a:pt x="321" y="593"/>
                      <a:pt x="321" y="616"/>
                    </a:cubicBezTo>
                    <a:cubicBezTo>
                      <a:pt x="325" y="617"/>
                      <a:pt x="322" y="610"/>
                      <a:pt x="323" y="607"/>
                    </a:cubicBezTo>
                    <a:cubicBezTo>
                      <a:pt x="343" y="623"/>
                      <a:pt x="374" y="640"/>
                      <a:pt x="396" y="657"/>
                    </a:cubicBezTo>
                    <a:cubicBezTo>
                      <a:pt x="397" y="658"/>
                      <a:pt x="398" y="663"/>
                      <a:pt x="399" y="664"/>
                    </a:cubicBezTo>
                    <a:cubicBezTo>
                      <a:pt x="403" y="667"/>
                      <a:pt x="409" y="665"/>
                      <a:pt x="414" y="668"/>
                    </a:cubicBezTo>
                    <a:cubicBezTo>
                      <a:pt x="423" y="673"/>
                      <a:pt x="444" y="695"/>
                      <a:pt x="438" y="696"/>
                    </a:cubicBezTo>
                    <a:cubicBezTo>
                      <a:pt x="444" y="696"/>
                      <a:pt x="447" y="701"/>
                      <a:pt x="456" y="702"/>
                    </a:cubicBezTo>
                    <a:cubicBezTo>
                      <a:pt x="452" y="705"/>
                      <a:pt x="453" y="705"/>
                      <a:pt x="458" y="707"/>
                    </a:cubicBezTo>
                    <a:cubicBezTo>
                      <a:pt x="458" y="709"/>
                      <a:pt x="454" y="708"/>
                      <a:pt x="454" y="711"/>
                    </a:cubicBezTo>
                    <a:cubicBezTo>
                      <a:pt x="467" y="723"/>
                      <a:pt x="477" y="728"/>
                      <a:pt x="488" y="737"/>
                    </a:cubicBezTo>
                    <a:cubicBezTo>
                      <a:pt x="487" y="739"/>
                      <a:pt x="485" y="740"/>
                      <a:pt x="483" y="741"/>
                    </a:cubicBezTo>
                    <a:cubicBezTo>
                      <a:pt x="486" y="749"/>
                      <a:pt x="495" y="752"/>
                      <a:pt x="492" y="762"/>
                    </a:cubicBezTo>
                    <a:cubicBezTo>
                      <a:pt x="494" y="768"/>
                      <a:pt x="503" y="765"/>
                      <a:pt x="504" y="771"/>
                    </a:cubicBezTo>
                    <a:cubicBezTo>
                      <a:pt x="504" y="776"/>
                      <a:pt x="497" y="774"/>
                      <a:pt x="492" y="775"/>
                    </a:cubicBezTo>
                    <a:cubicBezTo>
                      <a:pt x="493" y="777"/>
                      <a:pt x="494" y="779"/>
                      <a:pt x="495" y="782"/>
                    </a:cubicBezTo>
                    <a:cubicBezTo>
                      <a:pt x="497" y="779"/>
                      <a:pt x="501" y="779"/>
                      <a:pt x="503" y="777"/>
                    </a:cubicBezTo>
                    <a:cubicBezTo>
                      <a:pt x="508" y="777"/>
                      <a:pt x="506" y="784"/>
                      <a:pt x="506" y="789"/>
                    </a:cubicBezTo>
                    <a:cubicBezTo>
                      <a:pt x="504" y="788"/>
                      <a:pt x="505" y="785"/>
                      <a:pt x="504" y="782"/>
                    </a:cubicBezTo>
                    <a:cubicBezTo>
                      <a:pt x="498" y="786"/>
                      <a:pt x="503" y="791"/>
                      <a:pt x="503" y="796"/>
                    </a:cubicBezTo>
                    <a:cubicBezTo>
                      <a:pt x="497" y="796"/>
                      <a:pt x="492" y="789"/>
                      <a:pt x="490" y="796"/>
                    </a:cubicBezTo>
                    <a:cubicBezTo>
                      <a:pt x="492" y="801"/>
                      <a:pt x="496" y="793"/>
                      <a:pt x="499" y="798"/>
                    </a:cubicBezTo>
                    <a:cubicBezTo>
                      <a:pt x="497" y="805"/>
                      <a:pt x="502" y="810"/>
                      <a:pt x="494" y="812"/>
                    </a:cubicBezTo>
                    <a:cubicBezTo>
                      <a:pt x="496" y="820"/>
                      <a:pt x="504" y="812"/>
                      <a:pt x="506" y="819"/>
                    </a:cubicBezTo>
                    <a:cubicBezTo>
                      <a:pt x="509" y="822"/>
                      <a:pt x="507" y="825"/>
                      <a:pt x="503" y="825"/>
                    </a:cubicBezTo>
                    <a:cubicBezTo>
                      <a:pt x="508" y="831"/>
                      <a:pt x="510" y="845"/>
                      <a:pt x="501" y="844"/>
                    </a:cubicBezTo>
                    <a:cubicBezTo>
                      <a:pt x="499" y="853"/>
                      <a:pt x="510" y="849"/>
                      <a:pt x="510" y="857"/>
                    </a:cubicBezTo>
                    <a:cubicBezTo>
                      <a:pt x="504" y="857"/>
                      <a:pt x="501" y="854"/>
                      <a:pt x="494" y="855"/>
                    </a:cubicBezTo>
                    <a:cubicBezTo>
                      <a:pt x="492" y="861"/>
                      <a:pt x="501" y="857"/>
                      <a:pt x="504" y="858"/>
                    </a:cubicBezTo>
                    <a:cubicBezTo>
                      <a:pt x="504" y="869"/>
                      <a:pt x="496" y="861"/>
                      <a:pt x="490" y="866"/>
                    </a:cubicBezTo>
                    <a:cubicBezTo>
                      <a:pt x="490" y="869"/>
                      <a:pt x="496" y="866"/>
                      <a:pt x="499" y="867"/>
                    </a:cubicBezTo>
                    <a:cubicBezTo>
                      <a:pt x="495" y="873"/>
                      <a:pt x="489" y="867"/>
                      <a:pt x="486" y="874"/>
                    </a:cubicBezTo>
                    <a:cubicBezTo>
                      <a:pt x="479" y="875"/>
                      <a:pt x="478" y="869"/>
                      <a:pt x="469" y="871"/>
                    </a:cubicBezTo>
                    <a:cubicBezTo>
                      <a:pt x="467" y="862"/>
                      <a:pt x="484" y="873"/>
                      <a:pt x="479" y="862"/>
                    </a:cubicBezTo>
                    <a:cubicBezTo>
                      <a:pt x="478" y="857"/>
                      <a:pt x="476" y="867"/>
                      <a:pt x="470" y="864"/>
                    </a:cubicBezTo>
                    <a:cubicBezTo>
                      <a:pt x="469" y="857"/>
                      <a:pt x="465" y="861"/>
                      <a:pt x="462" y="858"/>
                    </a:cubicBezTo>
                    <a:cubicBezTo>
                      <a:pt x="460" y="853"/>
                      <a:pt x="466" y="855"/>
                      <a:pt x="467" y="851"/>
                    </a:cubicBezTo>
                    <a:cubicBezTo>
                      <a:pt x="461" y="847"/>
                      <a:pt x="453" y="844"/>
                      <a:pt x="453" y="833"/>
                    </a:cubicBezTo>
                    <a:cubicBezTo>
                      <a:pt x="442" y="833"/>
                      <a:pt x="435" y="829"/>
                      <a:pt x="430" y="828"/>
                    </a:cubicBezTo>
                    <a:cubicBezTo>
                      <a:pt x="426" y="823"/>
                      <a:pt x="430" y="819"/>
                      <a:pt x="428" y="816"/>
                    </a:cubicBezTo>
                    <a:cubicBezTo>
                      <a:pt x="418" y="818"/>
                      <a:pt x="413" y="825"/>
                      <a:pt x="410" y="833"/>
                    </a:cubicBezTo>
                    <a:cubicBezTo>
                      <a:pt x="406" y="829"/>
                      <a:pt x="400" y="835"/>
                      <a:pt x="397" y="832"/>
                    </a:cubicBezTo>
                    <a:cubicBezTo>
                      <a:pt x="399" y="830"/>
                      <a:pt x="406" y="827"/>
                      <a:pt x="408" y="821"/>
                    </a:cubicBezTo>
                    <a:cubicBezTo>
                      <a:pt x="397" y="799"/>
                      <a:pt x="384" y="826"/>
                      <a:pt x="369" y="826"/>
                    </a:cubicBezTo>
                    <a:cubicBezTo>
                      <a:pt x="366" y="823"/>
                      <a:pt x="374" y="818"/>
                      <a:pt x="371" y="809"/>
                    </a:cubicBezTo>
                    <a:cubicBezTo>
                      <a:pt x="367" y="811"/>
                      <a:pt x="365" y="816"/>
                      <a:pt x="358" y="816"/>
                    </a:cubicBezTo>
                    <a:cubicBezTo>
                      <a:pt x="359" y="818"/>
                      <a:pt x="363" y="817"/>
                      <a:pt x="365" y="817"/>
                    </a:cubicBezTo>
                    <a:cubicBezTo>
                      <a:pt x="365" y="824"/>
                      <a:pt x="353" y="818"/>
                      <a:pt x="357" y="828"/>
                    </a:cubicBezTo>
                    <a:cubicBezTo>
                      <a:pt x="355" y="827"/>
                      <a:pt x="350" y="818"/>
                      <a:pt x="357" y="819"/>
                    </a:cubicBezTo>
                    <a:cubicBezTo>
                      <a:pt x="354" y="814"/>
                      <a:pt x="347" y="819"/>
                      <a:pt x="344" y="819"/>
                    </a:cubicBezTo>
                    <a:cubicBezTo>
                      <a:pt x="340" y="832"/>
                      <a:pt x="324" y="833"/>
                      <a:pt x="326" y="850"/>
                    </a:cubicBezTo>
                    <a:cubicBezTo>
                      <a:pt x="325" y="851"/>
                      <a:pt x="322" y="851"/>
                      <a:pt x="319" y="851"/>
                    </a:cubicBezTo>
                    <a:cubicBezTo>
                      <a:pt x="320" y="857"/>
                      <a:pt x="325" y="858"/>
                      <a:pt x="324" y="866"/>
                    </a:cubicBezTo>
                    <a:cubicBezTo>
                      <a:pt x="308" y="874"/>
                      <a:pt x="328" y="901"/>
                      <a:pt x="323" y="928"/>
                    </a:cubicBezTo>
                    <a:cubicBezTo>
                      <a:pt x="320" y="928"/>
                      <a:pt x="318" y="929"/>
                      <a:pt x="317" y="931"/>
                    </a:cubicBezTo>
                    <a:cubicBezTo>
                      <a:pt x="298" y="904"/>
                      <a:pt x="309" y="874"/>
                      <a:pt x="305" y="841"/>
                    </a:cubicBezTo>
                    <a:cubicBezTo>
                      <a:pt x="307" y="841"/>
                      <a:pt x="306" y="844"/>
                      <a:pt x="307" y="846"/>
                    </a:cubicBezTo>
                    <a:cubicBezTo>
                      <a:pt x="311" y="844"/>
                      <a:pt x="307" y="835"/>
                      <a:pt x="308" y="830"/>
                    </a:cubicBezTo>
                    <a:cubicBezTo>
                      <a:pt x="306" y="830"/>
                      <a:pt x="305" y="830"/>
                      <a:pt x="305" y="828"/>
                    </a:cubicBezTo>
                    <a:cubicBezTo>
                      <a:pt x="298" y="833"/>
                      <a:pt x="302" y="831"/>
                      <a:pt x="296" y="835"/>
                    </a:cubicBezTo>
                    <a:cubicBezTo>
                      <a:pt x="293" y="833"/>
                      <a:pt x="293" y="826"/>
                      <a:pt x="291" y="823"/>
                    </a:cubicBezTo>
                    <a:cubicBezTo>
                      <a:pt x="277" y="863"/>
                      <a:pt x="313" y="914"/>
                      <a:pt x="289" y="951"/>
                    </a:cubicBezTo>
                    <a:cubicBezTo>
                      <a:pt x="290" y="954"/>
                      <a:pt x="294" y="953"/>
                      <a:pt x="292" y="958"/>
                    </a:cubicBezTo>
                    <a:cubicBezTo>
                      <a:pt x="285" y="954"/>
                      <a:pt x="286" y="949"/>
                      <a:pt x="276" y="955"/>
                    </a:cubicBezTo>
                    <a:cubicBezTo>
                      <a:pt x="269" y="937"/>
                      <a:pt x="278" y="889"/>
                      <a:pt x="266" y="874"/>
                    </a:cubicBezTo>
                    <a:cubicBezTo>
                      <a:pt x="264" y="879"/>
                      <a:pt x="263" y="893"/>
                      <a:pt x="262" y="899"/>
                    </a:cubicBezTo>
                    <a:cubicBezTo>
                      <a:pt x="261" y="915"/>
                      <a:pt x="259" y="925"/>
                      <a:pt x="259" y="906"/>
                    </a:cubicBezTo>
                    <a:cubicBezTo>
                      <a:pt x="258" y="902"/>
                      <a:pt x="261" y="904"/>
                      <a:pt x="260" y="898"/>
                    </a:cubicBezTo>
                    <a:cubicBezTo>
                      <a:pt x="261" y="892"/>
                      <a:pt x="255" y="894"/>
                      <a:pt x="257" y="887"/>
                    </a:cubicBezTo>
                    <a:cubicBezTo>
                      <a:pt x="265" y="888"/>
                      <a:pt x="261" y="882"/>
                      <a:pt x="260" y="876"/>
                    </a:cubicBezTo>
                    <a:cubicBezTo>
                      <a:pt x="238" y="891"/>
                      <a:pt x="259" y="933"/>
                      <a:pt x="243" y="946"/>
                    </a:cubicBezTo>
                    <a:cubicBezTo>
                      <a:pt x="240" y="937"/>
                      <a:pt x="242" y="923"/>
                      <a:pt x="235" y="919"/>
                    </a:cubicBezTo>
                    <a:cubicBezTo>
                      <a:pt x="231" y="918"/>
                      <a:pt x="229" y="919"/>
                      <a:pt x="228" y="923"/>
                    </a:cubicBezTo>
                    <a:cubicBezTo>
                      <a:pt x="205" y="904"/>
                      <a:pt x="208" y="858"/>
                      <a:pt x="180" y="844"/>
                    </a:cubicBezTo>
                    <a:cubicBezTo>
                      <a:pt x="181" y="838"/>
                      <a:pt x="186" y="835"/>
                      <a:pt x="193" y="833"/>
                    </a:cubicBezTo>
                    <a:cubicBezTo>
                      <a:pt x="192" y="829"/>
                      <a:pt x="190" y="825"/>
                      <a:pt x="187" y="823"/>
                    </a:cubicBezTo>
                    <a:cubicBezTo>
                      <a:pt x="194" y="815"/>
                      <a:pt x="205" y="810"/>
                      <a:pt x="218" y="809"/>
                    </a:cubicBezTo>
                    <a:cubicBezTo>
                      <a:pt x="216" y="804"/>
                      <a:pt x="209" y="805"/>
                      <a:pt x="203" y="805"/>
                    </a:cubicBezTo>
                    <a:cubicBezTo>
                      <a:pt x="240" y="788"/>
                      <a:pt x="267" y="752"/>
                      <a:pt x="317" y="755"/>
                    </a:cubicBezTo>
                    <a:cubicBezTo>
                      <a:pt x="325" y="742"/>
                      <a:pt x="320" y="720"/>
                      <a:pt x="321" y="696"/>
                    </a:cubicBezTo>
                    <a:cubicBezTo>
                      <a:pt x="322" y="679"/>
                      <a:pt x="328" y="658"/>
                      <a:pt x="317" y="645"/>
                    </a:cubicBezTo>
                    <a:cubicBezTo>
                      <a:pt x="313" y="649"/>
                      <a:pt x="318" y="663"/>
                      <a:pt x="314" y="668"/>
                    </a:cubicBezTo>
                    <a:cubicBezTo>
                      <a:pt x="306" y="668"/>
                      <a:pt x="297" y="666"/>
                      <a:pt x="298" y="675"/>
                    </a:cubicBezTo>
                    <a:cubicBezTo>
                      <a:pt x="284" y="677"/>
                      <a:pt x="272" y="677"/>
                      <a:pt x="264" y="670"/>
                    </a:cubicBezTo>
                    <a:cubicBezTo>
                      <a:pt x="261" y="658"/>
                      <a:pt x="268" y="643"/>
                      <a:pt x="250" y="645"/>
                    </a:cubicBezTo>
                    <a:cubicBezTo>
                      <a:pt x="252" y="635"/>
                      <a:pt x="259" y="629"/>
                      <a:pt x="262" y="620"/>
                    </a:cubicBezTo>
                    <a:cubicBezTo>
                      <a:pt x="254" y="611"/>
                      <a:pt x="243" y="634"/>
                      <a:pt x="227" y="632"/>
                    </a:cubicBezTo>
                    <a:cubicBezTo>
                      <a:pt x="237" y="617"/>
                      <a:pt x="255" y="610"/>
                      <a:pt x="264" y="593"/>
                    </a:cubicBezTo>
                    <a:cubicBezTo>
                      <a:pt x="255" y="578"/>
                      <a:pt x="228" y="580"/>
                      <a:pt x="218" y="566"/>
                    </a:cubicBezTo>
                    <a:cubicBezTo>
                      <a:pt x="210" y="569"/>
                      <a:pt x="202" y="569"/>
                      <a:pt x="195" y="566"/>
                    </a:cubicBezTo>
                    <a:cubicBezTo>
                      <a:pt x="195" y="563"/>
                      <a:pt x="201" y="565"/>
                      <a:pt x="200" y="559"/>
                    </a:cubicBezTo>
                    <a:cubicBezTo>
                      <a:pt x="200" y="558"/>
                      <a:pt x="198" y="558"/>
                      <a:pt x="198" y="556"/>
                    </a:cubicBezTo>
                    <a:cubicBezTo>
                      <a:pt x="195" y="556"/>
                      <a:pt x="194" y="558"/>
                      <a:pt x="191" y="558"/>
                    </a:cubicBezTo>
                    <a:cubicBezTo>
                      <a:pt x="189" y="563"/>
                      <a:pt x="194" y="565"/>
                      <a:pt x="187" y="570"/>
                    </a:cubicBezTo>
                    <a:cubicBezTo>
                      <a:pt x="189" y="575"/>
                      <a:pt x="195" y="574"/>
                      <a:pt x="195" y="581"/>
                    </a:cubicBezTo>
                    <a:cubicBezTo>
                      <a:pt x="183" y="581"/>
                      <a:pt x="178" y="596"/>
                      <a:pt x="168" y="600"/>
                    </a:cubicBezTo>
                    <a:cubicBezTo>
                      <a:pt x="164" y="602"/>
                      <a:pt x="159" y="599"/>
                      <a:pt x="155" y="600"/>
                    </a:cubicBezTo>
                    <a:cubicBezTo>
                      <a:pt x="140" y="607"/>
                      <a:pt x="133" y="618"/>
                      <a:pt x="114" y="613"/>
                    </a:cubicBezTo>
                    <a:cubicBezTo>
                      <a:pt x="109" y="589"/>
                      <a:pt x="115" y="545"/>
                      <a:pt x="106" y="517"/>
                    </a:cubicBezTo>
                    <a:cubicBezTo>
                      <a:pt x="104" y="511"/>
                      <a:pt x="103" y="521"/>
                      <a:pt x="98" y="518"/>
                    </a:cubicBezTo>
                    <a:cubicBezTo>
                      <a:pt x="95" y="508"/>
                      <a:pt x="91" y="508"/>
                      <a:pt x="91" y="495"/>
                    </a:cubicBezTo>
                    <a:cubicBezTo>
                      <a:pt x="113" y="482"/>
                      <a:pt x="119" y="448"/>
                      <a:pt x="111" y="424"/>
                    </a:cubicBezTo>
                    <a:cubicBezTo>
                      <a:pt x="102" y="455"/>
                      <a:pt x="94" y="486"/>
                      <a:pt x="77" y="509"/>
                    </a:cubicBezTo>
                    <a:cubicBezTo>
                      <a:pt x="70" y="506"/>
                      <a:pt x="74" y="492"/>
                      <a:pt x="66" y="490"/>
                    </a:cubicBezTo>
                    <a:cubicBezTo>
                      <a:pt x="71" y="473"/>
                      <a:pt x="62" y="461"/>
                      <a:pt x="57" y="447"/>
                    </a:cubicBezTo>
                    <a:cubicBezTo>
                      <a:pt x="46" y="408"/>
                      <a:pt x="54" y="362"/>
                      <a:pt x="52" y="326"/>
                    </a:cubicBezTo>
                    <a:cubicBezTo>
                      <a:pt x="43" y="339"/>
                      <a:pt x="33" y="349"/>
                      <a:pt x="25" y="365"/>
                    </a:cubicBezTo>
                    <a:cubicBezTo>
                      <a:pt x="22" y="372"/>
                      <a:pt x="20" y="388"/>
                      <a:pt x="15" y="388"/>
                    </a:cubicBezTo>
                    <a:cubicBezTo>
                      <a:pt x="3" y="389"/>
                      <a:pt x="2" y="357"/>
                      <a:pt x="2" y="346"/>
                    </a:cubicBezTo>
                    <a:cubicBezTo>
                      <a:pt x="2" y="324"/>
                      <a:pt x="0" y="308"/>
                      <a:pt x="0" y="289"/>
                    </a:cubicBezTo>
                    <a:cubicBezTo>
                      <a:pt x="3" y="284"/>
                      <a:pt x="2" y="298"/>
                      <a:pt x="4" y="299"/>
                    </a:cubicBezTo>
                    <a:cubicBezTo>
                      <a:pt x="23" y="267"/>
                      <a:pt x="23" y="217"/>
                      <a:pt x="33" y="178"/>
                    </a:cubicBezTo>
                    <a:cubicBezTo>
                      <a:pt x="33" y="172"/>
                      <a:pt x="27" y="172"/>
                      <a:pt x="27" y="166"/>
                    </a:cubicBezTo>
                    <a:cubicBezTo>
                      <a:pt x="38" y="175"/>
                      <a:pt x="59" y="168"/>
                      <a:pt x="66" y="184"/>
                    </a:cubicBezTo>
                    <a:cubicBezTo>
                      <a:pt x="92" y="180"/>
                      <a:pt x="112" y="204"/>
                      <a:pt x="148" y="200"/>
                    </a:cubicBezTo>
                    <a:cubicBezTo>
                      <a:pt x="138" y="192"/>
                      <a:pt x="119" y="194"/>
                      <a:pt x="109" y="185"/>
                    </a:cubicBezTo>
                    <a:cubicBezTo>
                      <a:pt x="116" y="185"/>
                      <a:pt x="126" y="190"/>
                      <a:pt x="132" y="185"/>
                    </a:cubicBezTo>
                    <a:cubicBezTo>
                      <a:pt x="129" y="182"/>
                      <a:pt x="123" y="183"/>
                      <a:pt x="120" y="180"/>
                    </a:cubicBezTo>
                    <a:cubicBezTo>
                      <a:pt x="92" y="179"/>
                      <a:pt x="129" y="179"/>
                      <a:pt x="136" y="177"/>
                    </a:cubicBezTo>
                    <a:cubicBezTo>
                      <a:pt x="138" y="180"/>
                      <a:pt x="143" y="180"/>
                      <a:pt x="148" y="180"/>
                    </a:cubicBezTo>
                    <a:cubicBezTo>
                      <a:pt x="149" y="172"/>
                      <a:pt x="138" y="175"/>
                      <a:pt x="143" y="168"/>
                    </a:cubicBezTo>
                    <a:cubicBezTo>
                      <a:pt x="126" y="167"/>
                      <a:pt x="115" y="161"/>
                      <a:pt x="107" y="152"/>
                    </a:cubicBezTo>
                    <a:cubicBezTo>
                      <a:pt x="115" y="155"/>
                      <a:pt x="122" y="159"/>
                      <a:pt x="132" y="161"/>
                    </a:cubicBezTo>
                    <a:cubicBezTo>
                      <a:pt x="125" y="149"/>
                      <a:pt x="110" y="146"/>
                      <a:pt x="102" y="136"/>
                    </a:cubicBezTo>
                    <a:cubicBezTo>
                      <a:pt x="107" y="131"/>
                      <a:pt x="116" y="138"/>
                      <a:pt x="125" y="136"/>
                    </a:cubicBezTo>
                    <a:cubicBezTo>
                      <a:pt x="124" y="134"/>
                      <a:pt x="123" y="132"/>
                      <a:pt x="125" y="132"/>
                    </a:cubicBezTo>
                    <a:cubicBezTo>
                      <a:pt x="121" y="129"/>
                      <a:pt x="114" y="128"/>
                      <a:pt x="107" y="127"/>
                    </a:cubicBezTo>
                    <a:cubicBezTo>
                      <a:pt x="109" y="118"/>
                      <a:pt x="112" y="121"/>
                      <a:pt x="118" y="123"/>
                    </a:cubicBezTo>
                    <a:cubicBezTo>
                      <a:pt x="120" y="119"/>
                      <a:pt x="118" y="115"/>
                      <a:pt x="123" y="121"/>
                    </a:cubicBezTo>
                    <a:cubicBezTo>
                      <a:pt x="126" y="121"/>
                      <a:pt x="122" y="118"/>
                      <a:pt x="125" y="118"/>
                    </a:cubicBezTo>
                    <a:cubicBezTo>
                      <a:pt x="124" y="112"/>
                      <a:pt x="115" y="119"/>
                      <a:pt x="109" y="114"/>
                    </a:cubicBezTo>
                    <a:cubicBezTo>
                      <a:pt x="116" y="106"/>
                      <a:pt x="134" y="120"/>
                      <a:pt x="134" y="105"/>
                    </a:cubicBezTo>
                    <a:cubicBezTo>
                      <a:pt x="142" y="107"/>
                      <a:pt x="144" y="102"/>
                      <a:pt x="152" y="104"/>
                    </a:cubicBezTo>
                    <a:cubicBezTo>
                      <a:pt x="157" y="101"/>
                      <a:pt x="146" y="100"/>
                      <a:pt x="148" y="95"/>
                    </a:cubicBezTo>
                    <a:cubicBezTo>
                      <a:pt x="143" y="94"/>
                      <a:pt x="140" y="99"/>
                      <a:pt x="136" y="95"/>
                    </a:cubicBezTo>
                    <a:cubicBezTo>
                      <a:pt x="142" y="87"/>
                      <a:pt x="148" y="90"/>
                      <a:pt x="157" y="84"/>
                    </a:cubicBezTo>
                    <a:cubicBezTo>
                      <a:pt x="158" y="77"/>
                      <a:pt x="147" y="82"/>
                      <a:pt x="143" y="80"/>
                    </a:cubicBezTo>
                    <a:cubicBezTo>
                      <a:pt x="146" y="77"/>
                      <a:pt x="150" y="75"/>
                      <a:pt x="146" y="68"/>
                    </a:cubicBezTo>
                    <a:cubicBezTo>
                      <a:pt x="157" y="77"/>
                      <a:pt x="161" y="53"/>
                      <a:pt x="171" y="57"/>
                    </a:cubicBezTo>
                    <a:cubicBezTo>
                      <a:pt x="171" y="54"/>
                      <a:pt x="171" y="50"/>
                      <a:pt x="171" y="47"/>
                    </a:cubicBezTo>
                    <a:cubicBezTo>
                      <a:pt x="168" y="52"/>
                      <a:pt x="159" y="52"/>
                      <a:pt x="157" y="59"/>
                    </a:cubicBezTo>
                    <a:cubicBezTo>
                      <a:pt x="156" y="51"/>
                      <a:pt x="149" y="44"/>
                      <a:pt x="146" y="32"/>
                    </a:cubicBezTo>
                    <a:cubicBezTo>
                      <a:pt x="152" y="34"/>
                      <a:pt x="150" y="28"/>
                      <a:pt x="154" y="27"/>
                    </a:cubicBezTo>
                    <a:cubicBezTo>
                      <a:pt x="151" y="22"/>
                      <a:pt x="149" y="19"/>
                      <a:pt x="155" y="16"/>
                    </a:cubicBezTo>
                    <a:cubicBezTo>
                      <a:pt x="155" y="14"/>
                      <a:pt x="152" y="15"/>
                      <a:pt x="150" y="15"/>
                    </a:cubicBezTo>
                    <a:cubicBezTo>
                      <a:pt x="152" y="8"/>
                      <a:pt x="161" y="8"/>
                      <a:pt x="162" y="0"/>
                    </a:cubicBezTo>
                    <a:cubicBezTo>
                      <a:pt x="171" y="18"/>
                      <a:pt x="182" y="59"/>
                      <a:pt x="170" y="75"/>
                    </a:cubicBezTo>
                    <a:close/>
                    <a:moveTo>
                      <a:pt x="203" y="495"/>
                    </a:moveTo>
                    <a:cubicBezTo>
                      <a:pt x="198" y="498"/>
                      <a:pt x="194" y="501"/>
                      <a:pt x="195" y="509"/>
                    </a:cubicBezTo>
                    <a:cubicBezTo>
                      <a:pt x="205" y="511"/>
                      <a:pt x="210" y="501"/>
                      <a:pt x="203" y="495"/>
                    </a:cubicBezTo>
                    <a:close/>
                    <a:moveTo>
                      <a:pt x="186" y="193"/>
                    </a:moveTo>
                    <a:cubicBezTo>
                      <a:pt x="186" y="195"/>
                      <a:pt x="185" y="199"/>
                      <a:pt x="187" y="200"/>
                    </a:cubicBezTo>
                    <a:cubicBezTo>
                      <a:pt x="187" y="198"/>
                      <a:pt x="187" y="196"/>
                      <a:pt x="187" y="194"/>
                    </a:cubicBezTo>
                    <a:cubicBezTo>
                      <a:pt x="187" y="193"/>
                      <a:pt x="187" y="191"/>
                      <a:pt x="187" y="189"/>
                    </a:cubicBezTo>
                    <a:cubicBezTo>
                      <a:pt x="184" y="186"/>
                      <a:pt x="186" y="177"/>
                      <a:pt x="186" y="171"/>
                    </a:cubicBezTo>
                    <a:cubicBezTo>
                      <a:pt x="183" y="171"/>
                      <a:pt x="184" y="168"/>
                      <a:pt x="182" y="168"/>
                    </a:cubicBezTo>
                    <a:cubicBezTo>
                      <a:pt x="180" y="178"/>
                      <a:pt x="183" y="183"/>
                      <a:pt x="186" y="193"/>
                    </a:cubicBezTo>
                    <a:close/>
                    <a:moveTo>
                      <a:pt x="34" y="209"/>
                    </a:moveTo>
                    <a:cubicBezTo>
                      <a:pt x="42" y="211"/>
                      <a:pt x="42" y="206"/>
                      <a:pt x="47" y="205"/>
                    </a:cubicBezTo>
                    <a:cubicBezTo>
                      <a:pt x="43" y="210"/>
                      <a:pt x="48" y="219"/>
                      <a:pt x="45" y="221"/>
                    </a:cubicBezTo>
                    <a:cubicBezTo>
                      <a:pt x="37" y="223"/>
                      <a:pt x="39" y="215"/>
                      <a:pt x="33" y="216"/>
                    </a:cubicBezTo>
                    <a:cubicBezTo>
                      <a:pt x="31" y="231"/>
                      <a:pt x="39" y="236"/>
                      <a:pt x="34" y="257"/>
                    </a:cubicBezTo>
                    <a:cubicBezTo>
                      <a:pt x="30" y="264"/>
                      <a:pt x="22" y="275"/>
                      <a:pt x="27" y="285"/>
                    </a:cubicBezTo>
                    <a:cubicBezTo>
                      <a:pt x="35" y="284"/>
                      <a:pt x="35" y="275"/>
                      <a:pt x="36" y="267"/>
                    </a:cubicBezTo>
                    <a:cubicBezTo>
                      <a:pt x="46" y="248"/>
                      <a:pt x="59" y="231"/>
                      <a:pt x="61" y="203"/>
                    </a:cubicBezTo>
                    <a:cubicBezTo>
                      <a:pt x="56" y="202"/>
                      <a:pt x="50" y="200"/>
                      <a:pt x="45" y="198"/>
                    </a:cubicBezTo>
                    <a:cubicBezTo>
                      <a:pt x="44" y="189"/>
                      <a:pt x="41" y="182"/>
                      <a:pt x="33" y="180"/>
                    </a:cubicBezTo>
                    <a:cubicBezTo>
                      <a:pt x="35" y="195"/>
                      <a:pt x="29" y="199"/>
                      <a:pt x="34" y="209"/>
                    </a:cubicBezTo>
                    <a:close/>
                    <a:moveTo>
                      <a:pt x="159" y="241"/>
                    </a:moveTo>
                    <a:cubicBezTo>
                      <a:pt x="156" y="234"/>
                      <a:pt x="159" y="221"/>
                      <a:pt x="150" y="221"/>
                    </a:cubicBezTo>
                    <a:cubicBezTo>
                      <a:pt x="151" y="230"/>
                      <a:pt x="147" y="243"/>
                      <a:pt x="159" y="241"/>
                    </a:cubicBezTo>
                    <a:close/>
                    <a:moveTo>
                      <a:pt x="123" y="237"/>
                    </a:moveTo>
                    <a:cubicBezTo>
                      <a:pt x="128" y="237"/>
                      <a:pt x="127" y="231"/>
                      <a:pt x="127" y="226"/>
                    </a:cubicBezTo>
                    <a:cubicBezTo>
                      <a:pt x="124" y="226"/>
                      <a:pt x="123" y="226"/>
                      <a:pt x="122" y="225"/>
                    </a:cubicBezTo>
                    <a:cubicBezTo>
                      <a:pt x="118" y="227"/>
                      <a:pt x="115" y="238"/>
                      <a:pt x="123" y="237"/>
                    </a:cubicBezTo>
                    <a:close/>
                    <a:moveTo>
                      <a:pt x="180" y="239"/>
                    </a:moveTo>
                    <a:cubicBezTo>
                      <a:pt x="181" y="234"/>
                      <a:pt x="180" y="232"/>
                      <a:pt x="175" y="234"/>
                    </a:cubicBezTo>
                    <a:cubicBezTo>
                      <a:pt x="179" y="241"/>
                      <a:pt x="173" y="242"/>
                      <a:pt x="173" y="250"/>
                    </a:cubicBezTo>
                    <a:cubicBezTo>
                      <a:pt x="180" y="251"/>
                      <a:pt x="180" y="251"/>
                      <a:pt x="186" y="255"/>
                    </a:cubicBezTo>
                    <a:cubicBezTo>
                      <a:pt x="184" y="250"/>
                      <a:pt x="189" y="251"/>
                      <a:pt x="189" y="248"/>
                    </a:cubicBezTo>
                    <a:cubicBezTo>
                      <a:pt x="183" y="246"/>
                      <a:pt x="188" y="229"/>
                      <a:pt x="186" y="234"/>
                    </a:cubicBezTo>
                    <a:cubicBezTo>
                      <a:pt x="182" y="234"/>
                      <a:pt x="184" y="239"/>
                      <a:pt x="180" y="239"/>
                    </a:cubicBezTo>
                    <a:close/>
                    <a:moveTo>
                      <a:pt x="114" y="278"/>
                    </a:moveTo>
                    <a:cubicBezTo>
                      <a:pt x="110" y="279"/>
                      <a:pt x="115" y="270"/>
                      <a:pt x="109" y="273"/>
                    </a:cubicBezTo>
                    <a:cubicBezTo>
                      <a:pt x="109" y="282"/>
                      <a:pt x="115" y="285"/>
                      <a:pt x="120" y="289"/>
                    </a:cubicBezTo>
                    <a:cubicBezTo>
                      <a:pt x="121" y="279"/>
                      <a:pt x="132" y="270"/>
                      <a:pt x="125" y="258"/>
                    </a:cubicBezTo>
                    <a:cubicBezTo>
                      <a:pt x="123" y="258"/>
                      <a:pt x="120" y="258"/>
                      <a:pt x="118" y="258"/>
                    </a:cubicBezTo>
                    <a:cubicBezTo>
                      <a:pt x="113" y="265"/>
                      <a:pt x="118" y="273"/>
                      <a:pt x="114" y="278"/>
                    </a:cubicBezTo>
                    <a:close/>
                    <a:moveTo>
                      <a:pt x="82" y="461"/>
                    </a:moveTo>
                    <a:cubicBezTo>
                      <a:pt x="74" y="397"/>
                      <a:pt x="127" y="339"/>
                      <a:pt x="93" y="282"/>
                    </a:cubicBezTo>
                    <a:cubicBezTo>
                      <a:pt x="61" y="318"/>
                      <a:pt x="44" y="420"/>
                      <a:pt x="82" y="461"/>
                    </a:cubicBezTo>
                    <a:close/>
                    <a:moveTo>
                      <a:pt x="20" y="340"/>
                    </a:moveTo>
                    <a:cubicBezTo>
                      <a:pt x="23" y="338"/>
                      <a:pt x="26" y="328"/>
                      <a:pt x="22" y="324"/>
                    </a:cubicBezTo>
                    <a:cubicBezTo>
                      <a:pt x="19" y="327"/>
                      <a:pt x="8" y="339"/>
                      <a:pt x="20" y="340"/>
                    </a:cubicBezTo>
                    <a:close/>
                    <a:moveTo>
                      <a:pt x="106" y="412"/>
                    </a:moveTo>
                    <a:cubicBezTo>
                      <a:pt x="107" y="416"/>
                      <a:pt x="108" y="420"/>
                      <a:pt x="113" y="420"/>
                    </a:cubicBezTo>
                    <a:cubicBezTo>
                      <a:pt x="110" y="408"/>
                      <a:pt x="121" y="390"/>
                      <a:pt x="113" y="378"/>
                    </a:cubicBezTo>
                    <a:cubicBezTo>
                      <a:pt x="110" y="389"/>
                      <a:pt x="113" y="406"/>
                      <a:pt x="106" y="412"/>
                    </a:cubicBezTo>
                    <a:close/>
                    <a:moveTo>
                      <a:pt x="152" y="485"/>
                    </a:moveTo>
                    <a:cubicBezTo>
                      <a:pt x="152" y="479"/>
                      <a:pt x="150" y="476"/>
                      <a:pt x="148" y="472"/>
                    </a:cubicBezTo>
                    <a:cubicBezTo>
                      <a:pt x="146" y="472"/>
                      <a:pt x="145" y="472"/>
                      <a:pt x="143" y="472"/>
                    </a:cubicBezTo>
                    <a:cubicBezTo>
                      <a:pt x="143" y="480"/>
                      <a:pt x="143" y="486"/>
                      <a:pt x="152" y="485"/>
                    </a:cubicBezTo>
                    <a:close/>
                    <a:moveTo>
                      <a:pt x="127" y="526"/>
                    </a:moveTo>
                    <a:cubicBezTo>
                      <a:pt x="142" y="516"/>
                      <a:pt x="150" y="486"/>
                      <a:pt x="127" y="479"/>
                    </a:cubicBezTo>
                    <a:cubicBezTo>
                      <a:pt x="123" y="489"/>
                      <a:pt x="111" y="519"/>
                      <a:pt x="127" y="526"/>
                    </a:cubicBezTo>
                    <a:close/>
                    <a:moveTo>
                      <a:pt x="177" y="533"/>
                    </a:moveTo>
                    <a:cubicBezTo>
                      <a:pt x="176" y="527"/>
                      <a:pt x="174" y="522"/>
                      <a:pt x="168" y="522"/>
                    </a:cubicBezTo>
                    <a:cubicBezTo>
                      <a:pt x="166" y="531"/>
                      <a:pt x="173" y="530"/>
                      <a:pt x="177" y="533"/>
                    </a:cubicBezTo>
                    <a:close/>
                    <a:moveTo>
                      <a:pt x="216" y="549"/>
                    </a:moveTo>
                    <a:cubicBezTo>
                      <a:pt x="222" y="540"/>
                      <a:pt x="232" y="536"/>
                      <a:pt x="234" y="524"/>
                    </a:cubicBezTo>
                    <a:cubicBezTo>
                      <a:pt x="218" y="515"/>
                      <a:pt x="188" y="541"/>
                      <a:pt x="216" y="549"/>
                    </a:cubicBezTo>
                    <a:close/>
                    <a:moveTo>
                      <a:pt x="218" y="559"/>
                    </a:moveTo>
                    <a:cubicBezTo>
                      <a:pt x="206" y="552"/>
                      <a:pt x="193" y="537"/>
                      <a:pt x="179" y="538"/>
                    </a:cubicBezTo>
                    <a:cubicBezTo>
                      <a:pt x="188" y="548"/>
                      <a:pt x="206" y="558"/>
                      <a:pt x="218" y="559"/>
                    </a:cubicBezTo>
                    <a:close/>
                    <a:moveTo>
                      <a:pt x="120" y="563"/>
                    </a:moveTo>
                    <a:cubicBezTo>
                      <a:pt x="122" y="560"/>
                      <a:pt x="123" y="550"/>
                      <a:pt x="118" y="550"/>
                    </a:cubicBezTo>
                    <a:cubicBezTo>
                      <a:pt x="117" y="554"/>
                      <a:pt x="114" y="562"/>
                      <a:pt x="120" y="563"/>
                    </a:cubicBezTo>
                    <a:close/>
                    <a:moveTo>
                      <a:pt x="148" y="604"/>
                    </a:moveTo>
                    <a:cubicBezTo>
                      <a:pt x="154" y="594"/>
                      <a:pt x="167" y="575"/>
                      <a:pt x="159" y="563"/>
                    </a:cubicBezTo>
                    <a:cubicBezTo>
                      <a:pt x="156" y="575"/>
                      <a:pt x="131" y="589"/>
                      <a:pt x="148" y="604"/>
                    </a:cubicBezTo>
                    <a:close/>
                    <a:moveTo>
                      <a:pt x="120" y="590"/>
                    </a:moveTo>
                    <a:cubicBezTo>
                      <a:pt x="126" y="581"/>
                      <a:pt x="124" y="575"/>
                      <a:pt x="127" y="565"/>
                    </a:cubicBezTo>
                    <a:cubicBezTo>
                      <a:pt x="125" y="565"/>
                      <a:pt x="122" y="565"/>
                      <a:pt x="120" y="565"/>
                    </a:cubicBezTo>
                    <a:cubicBezTo>
                      <a:pt x="119" y="572"/>
                      <a:pt x="114" y="587"/>
                      <a:pt x="120" y="590"/>
                    </a:cubicBezTo>
                    <a:close/>
                    <a:moveTo>
                      <a:pt x="166" y="582"/>
                    </a:moveTo>
                    <a:cubicBezTo>
                      <a:pt x="172" y="583"/>
                      <a:pt x="172" y="578"/>
                      <a:pt x="173" y="574"/>
                    </a:cubicBezTo>
                    <a:cubicBezTo>
                      <a:pt x="168" y="574"/>
                      <a:pt x="161" y="578"/>
                      <a:pt x="166" y="582"/>
                    </a:cubicBezTo>
                    <a:close/>
                    <a:moveTo>
                      <a:pt x="284" y="629"/>
                    </a:moveTo>
                    <a:cubicBezTo>
                      <a:pt x="296" y="628"/>
                      <a:pt x="294" y="613"/>
                      <a:pt x="298" y="604"/>
                    </a:cubicBezTo>
                    <a:cubicBezTo>
                      <a:pt x="295" y="603"/>
                      <a:pt x="293" y="601"/>
                      <a:pt x="291" y="600"/>
                    </a:cubicBezTo>
                    <a:cubicBezTo>
                      <a:pt x="284" y="606"/>
                      <a:pt x="283" y="616"/>
                      <a:pt x="284" y="629"/>
                    </a:cubicBezTo>
                    <a:close/>
                    <a:moveTo>
                      <a:pt x="276" y="664"/>
                    </a:moveTo>
                    <a:cubicBezTo>
                      <a:pt x="282" y="661"/>
                      <a:pt x="283" y="645"/>
                      <a:pt x="280" y="638"/>
                    </a:cubicBezTo>
                    <a:cubicBezTo>
                      <a:pt x="270" y="636"/>
                      <a:pt x="266" y="662"/>
                      <a:pt x="276" y="664"/>
                    </a:cubicBezTo>
                    <a:close/>
                    <a:moveTo>
                      <a:pt x="296" y="661"/>
                    </a:moveTo>
                    <a:cubicBezTo>
                      <a:pt x="305" y="663"/>
                      <a:pt x="308" y="647"/>
                      <a:pt x="301" y="645"/>
                    </a:cubicBezTo>
                    <a:cubicBezTo>
                      <a:pt x="299" y="649"/>
                      <a:pt x="291" y="654"/>
                      <a:pt x="296" y="661"/>
                    </a:cubicBezTo>
                    <a:close/>
                    <a:moveTo>
                      <a:pt x="241" y="791"/>
                    </a:moveTo>
                    <a:cubicBezTo>
                      <a:pt x="247" y="797"/>
                      <a:pt x="257" y="800"/>
                      <a:pt x="264" y="805"/>
                    </a:cubicBezTo>
                    <a:cubicBezTo>
                      <a:pt x="264" y="798"/>
                      <a:pt x="264" y="791"/>
                      <a:pt x="264" y="784"/>
                    </a:cubicBezTo>
                    <a:cubicBezTo>
                      <a:pt x="255" y="781"/>
                      <a:pt x="243" y="781"/>
                      <a:pt x="241" y="791"/>
                    </a:cubicBezTo>
                    <a:close/>
                    <a:moveTo>
                      <a:pt x="390" y="809"/>
                    </a:moveTo>
                    <a:cubicBezTo>
                      <a:pt x="395" y="809"/>
                      <a:pt x="396" y="806"/>
                      <a:pt x="396" y="801"/>
                    </a:cubicBezTo>
                    <a:cubicBezTo>
                      <a:pt x="391" y="801"/>
                      <a:pt x="390" y="804"/>
                      <a:pt x="390" y="809"/>
                    </a:cubicBezTo>
                    <a:close/>
                    <a:moveTo>
                      <a:pt x="399" y="803"/>
                    </a:moveTo>
                    <a:cubicBezTo>
                      <a:pt x="398" y="809"/>
                      <a:pt x="403" y="809"/>
                      <a:pt x="408" y="809"/>
                    </a:cubicBezTo>
                    <a:cubicBezTo>
                      <a:pt x="409" y="806"/>
                      <a:pt x="406" y="804"/>
                      <a:pt x="408" y="803"/>
                    </a:cubicBezTo>
                    <a:cubicBezTo>
                      <a:pt x="409" y="803"/>
                      <a:pt x="410" y="803"/>
                      <a:pt x="410" y="801"/>
                    </a:cubicBezTo>
                    <a:cubicBezTo>
                      <a:pt x="406" y="801"/>
                      <a:pt x="405" y="805"/>
                      <a:pt x="399" y="803"/>
                    </a:cubicBezTo>
                    <a:close/>
                    <a:moveTo>
                      <a:pt x="373" y="812"/>
                    </a:moveTo>
                    <a:cubicBezTo>
                      <a:pt x="372" y="817"/>
                      <a:pt x="373" y="820"/>
                      <a:pt x="376" y="821"/>
                    </a:cubicBezTo>
                    <a:cubicBezTo>
                      <a:pt x="380" y="818"/>
                      <a:pt x="374" y="817"/>
                      <a:pt x="378" y="816"/>
                    </a:cubicBezTo>
                    <a:cubicBezTo>
                      <a:pt x="380" y="816"/>
                      <a:pt x="381" y="816"/>
                      <a:pt x="383" y="816"/>
                    </a:cubicBezTo>
                    <a:cubicBezTo>
                      <a:pt x="385" y="809"/>
                      <a:pt x="375" y="809"/>
                      <a:pt x="373" y="812"/>
                    </a:cubicBezTo>
                    <a:close/>
                    <a:moveTo>
                      <a:pt x="296" y="826"/>
                    </a:moveTo>
                    <a:cubicBezTo>
                      <a:pt x="301" y="826"/>
                      <a:pt x="306" y="826"/>
                      <a:pt x="310" y="826"/>
                    </a:cubicBezTo>
                    <a:cubicBezTo>
                      <a:pt x="310" y="823"/>
                      <a:pt x="310" y="820"/>
                      <a:pt x="310" y="817"/>
                    </a:cubicBezTo>
                    <a:cubicBezTo>
                      <a:pt x="303" y="817"/>
                      <a:pt x="299" y="821"/>
                      <a:pt x="296" y="826"/>
                    </a:cubicBezTo>
                    <a:close/>
                    <a:moveTo>
                      <a:pt x="257" y="846"/>
                    </a:moveTo>
                    <a:cubicBezTo>
                      <a:pt x="265" y="847"/>
                      <a:pt x="262" y="838"/>
                      <a:pt x="262" y="832"/>
                    </a:cubicBezTo>
                    <a:cubicBezTo>
                      <a:pt x="260" y="832"/>
                      <a:pt x="257" y="832"/>
                      <a:pt x="255" y="832"/>
                    </a:cubicBezTo>
                    <a:cubicBezTo>
                      <a:pt x="255" y="837"/>
                      <a:pt x="258" y="839"/>
                      <a:pt x="257" y="846"/>
                    </a:cubicBezTo>
                    <a:close/>
                    <a:moveTo>
                      <a:pt x="257" y="864"/>
                    </a:moveTo>
                    <a:cubicBezTo>
                      <a:pt x="266" y="864"/>
                      <a:pt x="261" y="849"/>
                      <a:pt x="257" y="848"/>
                    </a:cubicBezTo>
                    <a:cubicBezTo>
                      <a:pt x="256" y="856"/>
                      <a:pt x="255" y="856"/>
                      <a:pt x="257" y="864"/>
                    </a:cubicBezTo>
                    <a:close/>
                    <a:moveTo>
                      <a:pt x="216" y="899"/>
                    </a:moveTo>
                    <a:cubicBezTo>
                      <a:pt x="232" y="894"/>
                      <a:pt x="217" y="880"/>
                      <a:pt x="218" y="866"/>
                    </a:cubicBezTo>
                    <a:cubicBezTo>
                      <a:pt x="216" y="866"/>
                      <a:pt x="214" y="866"/>
                      <a:pt x="212" y="866"/>
                    </a:cubicBezTo>
                    <a:cubicBezTo>
                      <a:pt x="212" y="878"/>
                      <a:pt x="212" y="891"/>
                      <a:pt x="216" y="8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6" name="Freeform 18"/>
              <p:cNvSpPr>
                <a:spLocks noEditPoints="1"/>
              </p:cNvSpPr>
              <p:nvPr/>
            </p:nvSpPr>
            <p:spPr bwMode="auto">
              <a:xfrm>
                <a:off x="1109" y="2039"/>
                <a:ext cx="288" cy="94"/>
              </a:xfrm>
              <a:custGeom>
                <a:avLst/>
                <a:gdLst>
                  <a:gd name="T0" fmla="*/ 210 w 237"/>
                  <a:gd name="T1" fmla="*/ 41 h 77"/>
                  <a:gd name="T2" fmla="*/ 190 w 237"/>
                  <a:gd name="T3" fmla="*/ 47 h 77"/>
                  <a:gd name="T4" fmla="*/ 186 w 237"/>
                  <a:gd name="T5" fmla="*/ 65 h 77"/>
                  <a:gd name="T6" fmla="*/ 176 w 237"/>
                  <a:gd name="T7" fmla="*/ 70 h 77"/>
                  <a:gd name="T8" fmla="*/ 149 w 237"/>
                  <a:gd name="T9" fmla="*/ 65 h 77"/>
                  <a:gd name="T10" fmla="*/ 145 w 237"/>
                  <a:gd name="T11" fmla="*/ 73 h 77"/>
                  <a:gd name="T12" fmla="*/ 128 w 237"/>
                  <a:gd name="T13" fmla="*/ 68 h 77"/>
                  <a:gd name="T14" fmla="*/ 122 w 237"/>
                  <a:gd name="T15" fmla="*/ 77 h 77"/>
                  <a:gd name="T16" fmla="*/ 121 w 237"/>
                  <a:gd name="T17" fmla="*/ 75 h 77"/>
                  <a:gd name="T18" fmla="*/ 119 w 237"/>
                  <a:gd name="T19" fmla="*/ 77 h 77"/>
                  <a:gd name="T20" fmla="*/ 117 w 237"/>
                  <a:gd name="T21" fmla="*/ 70 h 77"/>
                  <a:gd name="T22" fmla="*/ 90 w 237"/>
                  <a:gd name="T23" fmla="*/ 72 h 77"/>
                  <a:gd name="T24" fmla="*/ 83 w 237"/>
                  <a:gd name="T25" fmla="*/ 66 h 77"/>
                  <a:gd name="T26" fmla="*/ 105 w 237"/>
                  <a:gd name="T27" fmla="*/ 61 h 77"/>
                  <a:gd name="T28" fmla="*/ 108 w 237"/>
                  <a:gd name="T29" fmla="*/ 57 h 77"/>
                  <a:gd name="T30" fmla="*/ 87 w 237"/>
                  <a:gd name="T31" fmla="*/ 54 h 77"/>
                  <a:gd name="T32" fmla="*/ 81 w 237"/>
                  <a:gd name="T33" fmla="*/ 66 h 77"/>
                  <a:gd name="T34" fmla="*/ 72 w 237"/>
                  <a:gd name="T35" fmla="*/ 65 h 77"/>
                  <a:gd name="T36" fmla="*/ 81 w 237"/>
                  <a:gd name="T37" fmla="*/ 59 h 77"/>
                  <a:gd name="T38" fmla="*/ 83 w 237"/>
                  <a:gd name="T39" fmla="*/ 56 h 77"/>
                  <a:gd name="T40" fmla="*/ 28 w 237"/>
                  <a:gd name="T41" fmla="*/ 50 h 77"/>
                  <a:gd name="T42" fmla="*/ 28 w 237"/>
                  <a:gd name="T43" fmla="*/ 45 h 77"/>
                  <a:gd name="T44" fmla="*/ 23 w 237"/>
                  <a:gd name="T45" fmla="*/ 50 h 77"/>
                  <a:gd name="T46" fmla="*/ 17 w 237"/>
                  <a:gd name="T47" fmla="*/ 43 h 77"/>
                  <a:gd name="T48" fmla="*/ 1 w 237"/>
                  <a:gd name="T49" fmla="*/ 48 h 77"/>
                  <a:gd name="T50" fmla="*/ 15 w 237"/>
                  <a:gd name="T51" fmla="*/ 32 h 77"/>
                  <a:gd name="T52" fmla="*/ 56 w 237"/>
                  <a:gd name="T53" fmla="*/ 16 h 77"/>
                  <a:gd name="T54" fmla="*/ 58 w 237"/>
                  <a:gd name="T55" fmla="*/ 11 h 77"/>
                  <a:gd name="T56" fmla="*/ 72 w 237"/>
                  <a:gd name="T57" fmla="*/ 4 h 77"/>
                  <a:gd name="T58" fmla="*/ 122 w 237"/>
                  <a:gd name="T59" fmla="*/ 0 h 77"/>
                  <a:gd name="T60" fmla="*/ 145 w 237"/>
                  <a:gd name="T61" fmla="*/ 2 h 77"/>
                  <a:gd name="T62" fmla="*/ 149 w 237"/>
                  <a:gd name="T63" fmla="*/ 9 h 77"/>
                  <a:gd name="T64" fmla="*/ 161 w 237"/>
                  <a:gd name="T65" fmla="*/ 6 h 77"/>
                  <a:gd name="T66" fmla="*/ 172 w 237"/>
                  <a:gd name="T67" fmla="*/ 16 h 77"/>
                  <a:gd name="T68" fmla="*/ 181 w 237"/>
                  <a:gd name="T69" fmla="*/ 11 h 77"/>
                  <a:gd name="T70" fmla="*/ 181 w 237"/>
                  <a:gd name="T71" fmla="*/ 18 h 77"/>
                  <a:gd name="T72" fmla="*/ 190 w 237"/>
                  <a:gd name="T73" fmla="*/ 11 h 77"/>
                  <a:gd name="T74" fmla="*/ 188 w 237"/>
                  <a:gd name="T75" fmla="*/ 18 h 77"/>
                  <a:gd name="T76" fmla="*/ 208 w 237"/>
                  <a:gd name="T77" fmla="*/ 20 h 77"/>
                  <a:gd name="T78" fmla="*/ 210 w 237"/>
                  <a:gd name="T79" fmla="*/ 29 h 77"/>
                  <a:gd name="T80" fmla="*/ 210 w 237"/>
                  <a:gd name="T81" fmla="*/ 41 h 77"/>
                  <a:gd name="T82" fmla="*/ 44 w 237"/>
                  <a:gd name="T83" fmla="*/ 34 h 77"/>
                  <a:gd name="T84" fmla="*/ 64 w 237"/>
                  <a:gd name="T85" fmla="*/ 43 h 77"/>
                  <a:gd name="T86" fmla="*/ 44 w 237"/>
                  <a:gd name="T8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77">
                    <a:moveTo>
                      <a:pt x="210" y="41"/>
                    </a:moveTo>
                    <a:cubicBezTo>
                      <a:pt x="204" y="45"/>
                      <a:pt x="199" y="47"/>
                      <a:pt x="190" y="47"/>
                    </a:cubicBezTo>
                    <a:cubicBezTo>
                      <a:pt x="194" y="56"/>
                      <a:pt x="189" y="58"/>
                      <a:pt x="186" y="65"/>
                    </a:cubicBezTo>
                    <a:cubicBezTo>
                      <a:pt x="180" y="61"/>
                      <a:pt x="177" y="64"/>
                      <a:pt x="176" y="70"/>
                    </a:cubicBezTo>
                    <a:cubicBezTo>
                      <a:pt x="165" y="66"/>
                      <a:pt x="159" y="69"/>
                      <a:pt x="149" y="65"/>
                    </a:cubicBezTo>
                    <a:cubicBezTo>
                      <a:pt x="145" y="65"/>
                      <a:pt x="149" y="72"/>
                      <a:pt x="145" y="73"/>
                    </a:cubicBezTo>
                    <a:cubicBezTo>
                      <a:pt x="140" y="63"/>
                      <a:pt x="132" y="76"/>
                      <a:pt x="128" y="68"/>
                    </a:cubicBezTo>
                    <a:cubicBezTo>
                      <a:pt x="124" y="69"/>
                      <a:pt x="123" y="73"/>
                      <a:pt x="122" y="77"/>
                    </a:cubicBezTo>
                    <a:cubicBezTo>
                      <a:pt x="121" y="77"/>
                      <a:pt x="121" y="76"/>
                      <a:pt x="121" y="75"/>
                    </a:cubicBezTo>
                    <a:cubicBezTo>
                      <a:pt x="119" y="75"/>
                      <a:pt x="119" y="76"/>
                      <a:pt x="119" y="77"/>
                    </a:cubicBezTo>
                    <a:cubicBezTo>
                      <a:pt x="116" y="76"/>
                      <a:pt x="117" y="73"/>
                      <a:pt x="117" y="70"/>
                    </a:cubicBezTo>
                    <a:cubicBezTo>
                      <a:pt x="105" y="76"/>
                      <a:pt x="97" y="64"/>
                      <a:pt x="90" y="72"/>
                    </a:cubicBezTo>
                    <a:cubicBezTo>
                      <a:pt x="88" y="68"/>
                      <a:pt x="92" y="65"/>
                      <a:pt x="83" y="66"/>
                    </a:cubicBezTo>
                    <a:cubicBezTo>
                      <a:pt x="87" y="58"/>
                      <a:pt x="97" y="58"/>
                      <a:pt x="105" y="61"/>
                    </a:cubicBezTo>
                    <a:cubicBezTo>
                      <a:pt x="106" y="60"/>
                      <a:pt x="108" y="59"/>
                      <a:pt x="108" y="57"/>
                    </a:cubicBezTo>
                    <a:cubicBezTo>
                      <a:pt x="104" y="53"/>
                      <a:pt x="91" y="58"/>
                      <a:pt x="87" y="54"/>
                    </a:cubicBezTo>
                    <a:cubicBezTo>
                      <a:pt x="84" y="57"/>
                      <a:pt x="83" y="62"/>
                      <a:pt x="81" y="66"/>
                    </a:cubicBezTo>
                    <a:cubicBezTo>
                      <a:pt x="77" y="67"/>
                      <a:pt x="77" y="63"/>
                      <a:pt x="72" y="65"/>
                    </a:cubicBezTo>
                    <a:cubicBezTo>
                      <a:pt x="74" y="61"/>
                      <a:pt x="77" y="55"/>
                      <a:pt x="81" y="59"/>
                    </a:cubicBezTo>
                    <a:cubicBezTo>
                      <a:pt x="81" y="57"/>
                      <a:pt x="82" y="56"/>
                      <a:pt x="83" y="56"/>
                    </a:cubicBezTo>
                    <a:cubicBezTo>
                      <a:pt x="66" y="46"/>
                      <a:pt x="50" y="51"/>
                      <a:pt x="28" y="50"/>
                    </a:cubicBezTo>
                    <a:cubicBezTo>
                      <a:pt x="30" y="48"/>
                      <a:pt x="29" y="47"/>
                      <a:pt x="28" y="45"/>
                    </a:cubicBezTo>
                    <a:cubicBezTo>
                      <a:pt x="26" y="47"/>
                      <a:pt x="24" y="48"/>
                      <a:pt x="23" y="50"/>
                    </a:cubicBezTo>
                    <a:cubicBezTo>
                      <a:pt x="20" y="49"/>
                      <a:pt x="16" y="49"/>
                      <a:pt x="17" y="43"/>
                    </a:cubicBezTo>
                    <a:cubicBezTo>
                      <a:pt x="8" y="41"/>
                      <a:pt x="8" y="48"/>
                      <a:pt x="1" y="48"/>
                    </a:cubicBezTo>
                    <a:cubicBezTo>
                      <a:pt x="0" y="38"/>
                      <a:pt x="18" y="45"/>
                      <a:pt x="15" y="32"/>
                    </a:cubicBezTo>
                    <a:cubicBezTo>
                      <a:pt x="32" y="30"/>
                      <a:pt x="39" y="18"/>
                      <a:pt x="56" y="16"/>
                    </a:cubicBezTo>
                    <a:cubicBezTo>
                      <a:pt x="59" y="16"/>
                      <a:pt x="58" y="13"/>
                      <a:pt x="58" y="11"/>
                    </a:cubicBezTo>
                    <a:cubicBezTo>
                      <a:pt x="65" y="11"/>
                      <a:pt x="75" y="13"/>
                      <a:pt x="72" y="4"/>
                    </a:cubicBezTo>
                    <a:cubicBezTo>
                      <a:pt x="86" y="14"/>
                      <a:pt x="110" y="5"/>
                      <a:pt x="122" y="0"/>
                    </a:cubicBezTo>
                    <a:cubicBezTo>
                      <a:pt x="121" y="12"/>
                      <a:pt x="143" y="10"/>
                      <a:pt x="145" y="2"/>
                    </a:cubicBezTo>
                    <a:cubicBezTo>
                      <a:pt x="149" y="3"/>
                      <a:pt x="150" y="5"/>
                      <a:pt x="149" y="9"/>
                    </a:cubicBezTo>
                    <a:cubicBezTo>
                      <a:pt x="154" y="8"/>
                      <a:pt x="156" y="9"/>
                      <a:pt x="161" y="6"/>
                    </a:cubicBezTo>
                    <a:cubicBezTo>
                      <a:pt x="161" y="13"/>
                      <a:pt x="171" y="10"/>
                      <a:pt x="172" y="16"/>
                    </a:cubicBezTo>
                    <a:cubicBezTo>
                      <a:pt x="179" y="18"/>
                      <a:pt x="175" y="10"/>
                      <a:pt x="181" y="11"/>
                    </a:cubicBezTo>
                    <a:cubicBezTo>
                      <a:pt x="181" y="13"/>
                      <a:pt x="181" y="16"/>
                      <a:pt x="181" y="18"/>
                    </a:cubicBezTo>
                    <a:cubicBezTo>
                      <a:pt x="186" y="18"/>
                      <a:pt x="184" y="11"/>
                      <a:pt x="190" y="11"/>
                    </a:cubicBezTo>
                    <a:cubicBezTo>
                      <a:pt x="190" y="14"/>
                      <a:pt x="188" y="15"/>
                      <a:pt x="188" y="18"/>
                    </a:cubicBezTo>
                    <a:cubicBezTo>
                      <a:pt x="193" y="20"/>
                      <a:pt x="204" y="23"/>
                      <a:pt x="208" y="20"/>
                    </a:cubicBezTo>
                    <a:cubicBezTo>
                      <a:pt x="214" y="22"/>
                      <a:pt x="209" y="23"/>
                      <a:pt x="210" y="29"/>
                    </a:cubicBezTo>
                    <a:cubicBezTo>
                      <a:pt x="237" y="16"/>
                      <a:pt x="195" y="38"/>
                      <a:pt x="210" y="41"/>
                    </a:cubicBezTo>
                    <a:close/>
                    <a:moveTo>
                      <a:pt x="44" y="34"/>
                    </a:moveTo>
                    <a:cubicBezTo>
                      <a:pt x="43" y="44"/>
                      <a:pt x="59" y="44"/>
                      <a:pt x="64" y="43"/>
                    </a:cubicBezTo>
                    <a:cubicBezTo>
                      <a:pt x="63" y="31"/>
                      <a:pt x="55" y="33"/>
                      <a:pt x="4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7" name="Freeform 19"/>
              <p:cNvSpPr>
                <a:spLocks noEditPoints="1"/>
              </p:cNvSpPr>
              <p:nvPr/>
            </p:nvSpPr>
            <p:spPr bwMode="auto">
              <a:xfrm>
                <a:off x="1193" y="2299"/>
                <a:ext cx="495" cy="971"/>
              </a:xfrm>
              <a:custGeom>
                <a:avLst/>
                <a:gdLst>
                  <a:gd name="T0" fmla="*/ 365 w 408"/>
                  <a:gd name="T1" fmla="*/ 46 h 799"/>
                  <a:gd name="T2" fmla="*/ 358 w 408"/>
                  <a:gd name="T3" fmla="*/ 66 h 799"/>
                  <a:gd name="T4" fmla="*/ 336 w 408"/>
                  <a:gd name="T5" fmla="*/ 214 h 799"/>
                  <a:gd name="T6" fmla="*/ 317 w 408"/>
                  <a:gd name="T7" fmla="*/ 249 h 799"/>
                  <a:gd name="T8" fmla="*/ 288 w 408"/>
                  <a:gd name="T9" fmla="*/ 296 h 799"/>
                  <a:gd name="T10" fmla="*/ 253 w 408"/>
                  <a:gd name="T11" fmla="*/ 337 h 799"/>
                  <a:gd name="T12" fmla="*/ 228 w 408"/>
                  <a:gd name="T13" fmla="*/ 372 h 799"/>
                  <a:gd name="T14" fmla="*/ 199 w 408"/>
                  <a:gd name="T15" fmla="*/ 456 h 799"/>
                  <a:gd name="T16" fmla="*/ 205 w 408"/>
                  <a:gd name="T17" fmla="*/ 474 h 799"/>
                  <a:gd name="T18" fmla="*/ 205 w 408"/>
                  <a:gd name="T19" fmla="*/ 459 h 799"/>
                  <a:gd name="T20" fmla="*/ 208 w 408"/>
                  <a:gd name="T21" fmla="*/ 484 h 799"/>
                  <a:gd name="T22" fmla="*/ 217 w 408"/>
                  <a:gd name="T23" fmla="*/ 479 h 799"/>
                  <a:gd name="T24" fmla="*/ 237 w 408"/>
                  <a:gd name="T25" fmla="*/ 513 h 799"/>
                  <a:gd name="T26" fmla="*/ 335 w 408"/>
                  <a:gd name="T27" fmla="*/ 570 h 799"/>
                  <a:gd name="T28" fmla="*/ 221 w 408"/>
                  <a:gd name="T29" fmla="*/ 605 h 799"/>
                  <a:gd name="T30" fmla="*/ 210 w 408"/>
                  <a:gd name="T31" fmla="*/ 580 h 799"/>
                  <a:gd name="T32" fmla="*/ 187 w 408"/>
                  <a:gd name="T33" fmla="*/ 717 h 799"/>
                  <a:gd name="T34" fmla="*/ 121 w 408"/>
                  <a:gd name="T35" fmla="*/ 783 h 799"/>
                  <a:gd name="T36" fmla="*/ 94 w 408"/>
                  <a:gd name="T37" fmla="*/ 790 h 799"/>
                  <a:gd name="T38" fmla="*/ 73 w 408"/>
                  <a:gd name="T39" fmla="*/ 799 h 799"/>
                  <a:gd name="T40" fmla="*/ 139 w 408"/>
                  <a:gd name="T41" fmla="*/ 734 h 799"/>
                  <a:gd name="T42" fmla="*/ 158 w 408"/>
                  <a:gd name="T43" fmla="*/ 703 h 799"/>
                  <a:gd name="T44" fmla="*/ 130 w 408"/>
                  <a:gd name="T45" fmla="*/ 696 h 799"/>
                  <a:gd name="T46" fmla="*/ 139 w 408"/>
                  <a:gd name="T47" fmla="*/ 684 h 799"/>
                  <a:gd name="T48" fmla="*/ 132 w 408"/>
                  <a:gd name="T49" fmla="*/ 668 h 799"/>
                  <a:gd name="T50" fmla="*/ 141 w 408"/>
                  <a:gd name="T51" fmla="*/ 641 h 799"/>
                  <a:gd name="T52" fmla="*/ 139 w 408"/>
                  <a:gd name="T53" fmla="*/ 591 h 799"/>
                  <a:gd name="T54" fmla="*/ 141 w 408"/>
                  <a:gd name="T55" fmla="*/ 586 h 799"/>
                  <a:gd name="T56" fmla="*/ 126 w 408"/>
                  <a:gd name="T57" fmla="*/ 555 h 799"/>
                  <a:gd name="T58" fmla="*/ 125 w 408"/>
                  <a:gd name="T59" fmla="*/ 543 h 799"/>
                  <a:gd name="T60" fmla="*/ 119 w 408"/>
                  <a:gd name="T61" fmla="*/ 539 h 799"/>
                  <a:gd name="T62" fmla="*/ 128 w 408"/>
                  <a:gd name="T63" fmla="*/ 523 h 799"/>
                  <a:gd name="T64" fmla="*/ 121 w 408"/>
                  <a:gd name="T65" fmla="*/ 504 h 799"/>
                  <a:gd name="T66" fmla="*/ 96 w 408"/>
                  <a:gd name="T67" fmla="*/ 490 h 799"/>
                  <a:gd name="T68" fmla="*/ 78 w 408"/>
                  <a:gd name="T69" fmla="*/ 472 h 799"/>
                  <a:gd name="T70" fmla="*/ 71 w 408"/>
                  <a:gd name="T71" fmla="*/ 472 h 799"/>
                  <a:gd name="T72" fmla="*/ 57 w 408"/>
                  <a:gd name="T73" fmla="*/ 481 h 799"/>
                  <a:gd name="T74" fmla="*/ 52 w 408"/>
                  <a:gd name="T75" fmla="*/ 484 h 799"/>
                  <a:gd name="T76" fmla="*/ 41 w 408"/>
                  <a:gd name="T77" fmla="*/ 518 h 799"/>
                  <a:gd name="T78" fmla="*/ 34 w 408"/>
                  <a:gd name="T79" fmla="*/ 531 h 799"/>
                  <a:gd name="T80" fmla="*/ 23 w 408"/>
                  <a:gd name="T81" fmla="*/ 552 h 799"/>
                  <a:gd name="T82" fmla="*/ 7 w 408"/>
                  <a:gd name="T83" fmla="*/ 548 h 799"/>
                  <a:gd name="T84" fmla="*/ 7 w 408"/>
                  <a:gd name="T85" fmla="*/ 545 h 799"/>
                  <a:gd name="T86" fmla="*/ 3 w 408"/>
                  <a:gd name="T87" fmla="*/ 507 h 799"/>
                  <a:gd name="T88" fmla="*/ 3 w 408"/>
                  <a:gd name="T89" fmla="*/ 499 h 799"/>
                  <a:gd name="T90" fmla="*/ 3 w 408"/>
                  <a:gd name="T91" fmla="*/ 488 h 799"/>
                  <a:gd name="T92" fmla="*/ 0 w 408"/>
                  <a:gd name="T93" fmla="*/ 472 h 799"/>
                  <a:gd name="T94" fmla="*/ 9 w 408"/>
                  <a:gd name="T95" fmla="*/ 458 h 799"/>
                  <a:gd name="T96" fmla="*/ 21 w 408"/>
                  <a:gd name="T97" fmla="*/ 443 h 799"/>
                  <a:gd name="T98" fmla="*/ 32 w 408"/>
                  <a:gd name="T99" fmla="*/ 431 h 799"/>
                  <a:gd name="T100" fmla="*/ 27 w 408"/>
                  <a:gd name="T101" fmla="*/ 420 h 799"/>
                  <a:gd name="T102" fmla="*/ 41 w 408"/>
                  <a:gd name="T103" fmla="*/ 411 h 799"/>
                  <a:gd name="T104" fmla="*/ 253 w 408"/>
                  <a:gd name="T105" fmla="*/ 180 h 799"/>
                  <a:gd name="T106" fmla="*/ 274 w 408"/>
                  <a:gd name="T107" fmla="*/ 141 h 799"/>
                  <a:gd name="T108" fmla="*/ 281 w 408"/>
                  <a:gd name="T109" fmla="*/ 139 h 799"/>
                  <a:gd name="T110" fmla="*/ 294 w 408"/>
                  <a:gd name="T111" fmla="*/ 169 h 799"/>
                  <a:gd name="T112" fmla="*/ 308 w 408"/>
                  <a:gd name="T113" fmla="*/ 119 h 799"/>
                  <a:gd name="T114" fmla="*/ 360 w 408"/>
                  <a:gd name="T115" fmla="*/ 37 h 799"/>
                  <a:gd name="T116" fmla="*/ 301 w 408"/>
                  <a:gd name="T117" fmla="*/ 212 h 799"/>
                  <a:gd name="T118" fmla="*/ 297 w 408"/>
                  <a:gd name="T119" fmla="*/ 230 h 799"/>
                  <a:gd name="T120" fmla="*/ 267 w 408"/>
                  <a:gd name="T121" fmla="*/ 304 h 799"/>
                  <a:gd name="T122" fmla="*/ 244 w 408"/>
                  <a:gd name="T123" fmla="*/ 329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8" h="799">
                    <a:moveTo>
                      <a:pt x="360" y="37"/>
                    </a:moveTo>
                    <a:cubicBezTo>
                      <a:pt x="364" y="38"/>
                      <a:pt x="359" y="47"/>
                      <a:pt x="365" y="46"/>
                    </a:cubicBezTo>
                    <a:cubicBezTo>
                      <a:pt x="378" y="30"/>
                      <a:pt x="397" y="20"/>
                      <a:pt x="408" y="0"/>
                    </a:cubicBezTo>
                    <a:cubicBezTo>
                      <a:pt x="403" y="27"/>
                      <a:pt x="374" y="45"/>
                      <a:pt x="358" y="66"/>
                    </a:cubicBezTo>
                    <a:cubicBezTo>
                      <a:pt x="366" y="103"/>
                      <a:pt x="351" y="139"/>
                      <a:pt x="358" y="178"/>
                    </a:cubicBezTo>
                    <a:cubicBezTo>
                      <a:pt x="348" y="187"/>
                      <a:pt x="346" y="205"/>
                      <a:pt x="336" y="214"/>
                    </a:cubicBezTo>
                    <a:cubicBezTo>
                      <a:pt x="341" y="237"/>
                      <a:pt x="320" y="239"/>
                      <a:pt x="319" y="262"/>
                    </a:cubicBezTo>
                    <a:cubicBezTo>
                      <a:pt x="315" y="261"/>
                      <a:pt x="318" y="253"/>
                      <a:pt x="317" y="249"/>
                    </a:cubicBezTo>
                    <a:cubicBezTo>
                      <a:pt x="306" y="250"/>
                      <a:pt x="304" y="260"/>
                      <a:pt x="304" y="272"/>
                    </a:cubicBezTo>
                    <a:cubicBezTo>
                      <a:pt x="298" y="279"/>
                      <a:pt x="289" y="283"/>
                      <a:pt x="288" y="296"/>
                    </a:cubicBezTo>
                    <a:cubicBezTo>
                      <a:pt x="270" y="299"/>
                      <a:pt x="272" y="323"/>
                      <a:pt x="254" y="328"/>
                    </a:cubicBezTo>
                    <a:cubicBezTo>
                      <a:pt x="255" y="332"/>
                      <a:pt x="251" y="331"/>
                      <a:pt x="253" y="337"/>
                    </a:cubicBezTo>
                    <a:cubicBezTo>
                      <a:pt x="232" y="337"/>
                      <a:pt x="234" y="360"/>
                      <a:pt x="230" y="376"/>
                    </a:cubicBezTo>
                    <a:cubicBezTo>
                      <a:pt x="228" y="376"/>
                      <a:pt x="228" y="374"/>
                      <a:pt x="228" y="372"/>
                    </a:cubicBezTo>
                    <a:cubicBezTo>
                      <a:pt x="203" y="384"/>
                      <a:pt x="200" y="418"/>
                      <a:pt x="194" y="449"/>
                    </a:cubicBezTo>
                    <a:cubicBezTo>
                      <a:pt x="195" y="452"/>
                      <a:pt x="195" y="456"/>
                      <a:pt x="199" y="456"/>
                    </a:cubicBezTo>
                    <a:cubicBezTo>
                      <a:pt x="198" y="459"/>
                      <a:pt x="197" y="460"/>
                      <a:pt x="194" y="458"/>
                    </a:cubicBezTo>
                    <a:cubicBezTo>
                      <a:pt x="193" y="468"/>
                      <a:pt x="199" y="471"/>
                      <a:pt x="205" y="474"/>
                    </a:cubicBezTo>
                    <a:cubicBezTo>
                      <a:pt x="206" y="473"/>
                      <a:pt x="206" y="472"/>
                      <a:pt x="208" y="472"/>
                    </a:cubicBezTo>
                    <a:cubicBezTo>
                      <a:pt x="210" y="465"/>
                      <a:pt x="203" y="466"/>
                      <a:pt x="205" y="459"/>
                    </a:cubicBezTo>
                    <a:cubicBezTo>
                      <a:pt x="212" y="461"/>
                      <a:pt x="211" y="470"/>
                      <a:pt x="215" y="475"/>
                    </a:cubicBezTo>
                    <a:cubicBezTo>
                      <a:pt x="216" y="481"/>
                      <a:pt x="208" y="479"/>
                      <a:pt x="208" y="484"/>
                    </a:cubicBezTo>
                    <a:cubicBezTo>
                      <a:pt x="208" y="490"/>
                      <a:pt x="213" y="490"/>
                      <a:pt x="217" y="491"/>
                    </a:cubicBezTo>
                    <a:cubicBezTo>
                      <a:pt x="222" y="490"/>
                      <a:pt x="215" y="485"/>
                      <a:pt x="217" y="479"/>
                    </a:cubicBezTo>
                    <a:cubicBezTo>
                      <a:pt x="227" y="484"/>
                      <a:pt x="226" y="501"/>
                      <a:pt x="228" y="515"/>
                    </a:cubicBezTo>
                    <a:cubicBezTo>
                      <a:pt x="233" y="516"/>
                      <a:pt x="232" y="512"/>
                      <a:pt x="237" y="513"/>
                    </a:cubicBezTo>
                    <a:cubicBezTo>
                      <a:pt x="230" y="510"/>
                      <a:pt x="239" y="508"/>
                      <a:pt x="235" y="506"/>
                    </a:cubicBezTo>
                    <a:cubicBezTo>
                      <a:pt x="275" y="513"/>
                      <a:pt x="308" y="543"/>
                      <a:pt x="335" y="570"/>
                    </a:cubicBezTo>
                    <a:cubicBezTo>
                      <a:pt x="306" y="562"/>
                      <a:pt x="293" y="523"/>
                      <a:pt x="254" y="520"/>
                    </a:cubicBezTo>
                    <a:cubicBezTo>
                      <a:pt x="251" y="549"/>
                      <a:pt x="250" y="596"/>
                      <a:pt x="221" y="605"/>
                    </a:cubicBezTo>
                    <a:cubicBezTo>
                      <a:pt x="213" y="610"/>
                      <a:pt x="214" y="624"/>
                      <a:pt x="210" y="632"/>
                    </a:cubicBezTo>
                    <a:cubicBezTo>
                      <a:pt x="209" y="617"/>
                      <a:pt x="211" y="599"/>
                      <a:pt x="210" y="580"/>
                    </a:cubicBezTo>
                    <a:cubicBezTo>
                      <a:pt x="198" y="599"/>
                      <a:pt x="195" y="634"/>
                      <a:pt x="192" y="664"/>
                    </a:cubicBezTo>
                    <a:cubicBezTo>
                      <a:pt x="190" y="684"/>
                      <a:pt x="182" y="706"/>
                      <a:pt x="187" y="717"/>
                    </a:cubicBezTo>
                    <a:cubicBezTo>
                      <a:pt x="161" y="743"/>
                      <a:pt x="142" y="775"/>
                      <a:pt x="112" y="796"/>
                    </a:cubicBezTo>
                    <a:cubicBezTo>
                      <a:pt x="110" y="794"/>
                      <a:pt x="117" y="786"/>
                      <a:pt x="121" y="783"/>
                    </a:cubicBezTo>
                    <a:cubicBezTo>
                      <a:pt x="114" y="775"/>
                      <a:pt x="100" y="786"/>
                      <a:pt x="91" y="787"/>
                    </a:cubicBezTo>
                    <a:cubicBezTo>
                      <a:pt x="91" y="789"/>
                      <a:pt x="92" y="790"/>
                      <a:pt x="94" y="790"/>
                    </a:cubicBezTo>
                    <a:cubicBezTo>
                      <a:pt x="88" y="794"/>
                      <a:pt x="83" y="793"/>
                      <a:pt x="84" y="799"/>
                    </a:cubicBezTo>
                    <a:cubicBezTo>
                      <a:pt x="80" y="799"/>
                      <a:pt x="76" y="799"/>
                      <a:pt x="73" y="799"/>
                    </a:cubicBezTo>
                    <a:cubicBezTo>
                      <a:pt x="67" y="788"/>
                      <a:pt x="90" y="769"/>
                      <a:pt x="100" y="760"/>
                    </a:cubicBezTo>
                    <a:cubicBezTo>
                      <a:pt x="111" y="750"/>
                      <a:pt x="129" y="742"/>
                      <a:pt x="139" y="734"/>
                    </a:cubicBezTo>
                    <a:cubicBezTo>
                      <a:pt x="140" y="733"/>
                      <a:pt x="138" y="729"/>
                      <a:pt x="139" y="728"/>
                    </a:cubicBezTo>
                    <a:cubicBezTo>
                      <a:pt x="146" y="720"/>
                      <a:pt x="156" y="718"/>
                      <a:pt x="158" y="703"/>
                    </a:cubicBezTo>
                    <a:cubicBezTo>
                      <a:pt x="156" y="700"/>
                      <a:pt x="146" y="704"/>
                      <a:pt x="149" y="694"/>
                    </a:cubicBezTo>
                    <a:cubicBezTo>
                      <a:pt x="143" y="709"/>
                      <a:pt x="138" y="686"/>
                      <a:pt x="130" y="696"/>
                    </a:cubicBezTo>
                    <a:cubicBezTo>
                      <a:pt x="128" y="690"/>
                      <a:pt x="133" y="689"/>
                      <a:pt x="132" y="684"/>
                    </a:cubicBezTo>
                    <a:cubicBezTo>
                      <a:pt x="134" y="684"/>
                      <a:pt x="136" y="684"/>
                      <a:pt x="139" y="684"/>
                    </a:cubicBezTo>
                    <a:cubicBezTo>
                      <a:pt x="137" y="681"/>
                      <a:pt x="133" y="681"/>
                      <a:pt x="132" y="678"/>
                    </a:cubicBezTo>
                    <a:cubicBezTo>
                      <a:pt x="129" y="671"/>
                      <a:pt x="144" y="668"/>
                      <a:pt x="132" y="668"/>
                    </a:cubicBezTo>
                    <a:cubicBezTo>
                      <a:pt x="139" y="666"/>
                      <a:pt x="137" y="659"/>
                      <a:pt x="146" y="655"/>
                    </a:cubicBezTo>
                    <a:cubicBezTo>
                      <a:pt x="145" y="650"/>
                      <a:pt x="141" y="647"/>
                      <a:pt x="141" y="641"/>
                    </a:cubicBezTo>
                    <a:cubicBezTo>
                      <a:pt x="146" y="643"/>
                      <a:pt x="147" y="642"/>
                      <a:pt x="151" y="639"/>
                    </a:cubicBezTo>
                    <a:cubicBezTo>
                      <a:pt x="143" y="624"/>
                      <a:pt x="137" y="612"/>
                      <a:pt x="139" y="591"/>
                    </a:cubicBezTo>
                    <a:cubicBezTo>
                      <a:pt x="138" y="589"/>
                      <a:pt x="133" y="590"/>
                      <a:pt x="133" y="588"/>
                    </a:cubicBezTo>
                    <a:cubicBezTo>
                      <a:pt x="133" y="580"/>
                      <a:pt x="136" y="588"/>
                      <a:pt x="141" y="586"/>
                    </a:cubicBezTo>
                    <a:cubicBezTo>
                      <a:pt x="141" y="572"/>
                      <a:pt x="127" y="572"/>
                      <a:pt x="130" y="555"/>
                    </a:cubicBezTo>
                    <a:cubicBezTo>
                      <a:pt x="129" y="553"/>
                      <a:pt x="126" y="554"/>
                      <a:pt x="126" y="555"/>
                    </a:cubicBezTo>
                    <a:cubicBezTo>
                      <a:pt x="123" y="552"/>
                      <a:pt x="138" y="544"/>
                      <a:pt x="130" y="536"/>
                    </a:cubicBezTo>
                    <a:cubicBezTo>
                      <a:pt x="125" y="535"/>
                      <a:pt x="125" y="540"/>
                      <a:pt x="125" y="543"/>
                    </a:cubicBezTo>
                    <a:cubicBezTo>
                      <a:pt x="123" y="543"/>
                      <a:pt x="123" y="542"/>
                      <a:pt x="123" y="541"/>
                    </a:cubicBezTo>
                    <a:cubicBezTo>
                      <a:pt x="123" y="540"/>
                      <a:pt x="121" y="540"/>
                      <a:pt x="119" y="539"/>
                    </a:cubicBezTo>
                    <a:cubicBezTo>
                      <a:pt x="120" y="537"/>
                      <a:pt x="123" y="538"/>
                      <a:pt x="123" y="539"/>
                    </a:cubicBezTo>
                    <a:cubicBezTo>
                      <a:pt x="126" y="536"/>
                      <a:pt x="125" y="527"/>
                      <a:pt x="128" y="523"/>
                    </a:cubicBezTo>
                    <a:cubicBezTo>
                      <a:pt x="126" y="517"/>
                      <a:pt x="125" y="523"/>
                      <a:pt x="119" y="522"/>
                    </a:cubicBezTo>
                    <a:cubicBezTo>
                      <a:pt x="120" y="515"/>
                      <a:pt x="114" y="507"/>
                      <a:pt x="121" y="504"/>
                    </a:cubicBezTo>
                    <a:cubicBezTo>
                      <a:pt x="119" y="501"/>
                      <a:pt x="111" y="504"/>
                      <a:pt x="110" y="504"/>
                    </a:cubicBezTo>
                    <a:cubicBezTo>
                      <a:pt x="111" y="499"/>
                      <a:pt x="101" y="491"/>
                      <a:pt x="96" y="490"/>
                    </a:cubicBezTo>
                    <a:cubicBezTo>
                      <a:pt x="91" y="484"/>
                      <a:pt x="95" y="480"/>
                      <a:pt x="91" y="474"/>
                    </a:cubicBezTo>
                    <a:cubicBezTo>
                      <a:pt x="84" y="472"/>
                      <a:pt x="80" y="478"/>
                      <a:pt x="78" y="472"/>
                    </a:cubicBezTo>
                    <a:cubicBezTo>
                      <a:pt x="75" y="472"/>
                      <a:pt x="77" y="478"/>
                      <a:pt x="75" y="479"/>
                    </a:cubicBezTo>
                    <a:cubicBezTo>
                      <a:pt x="70" y="480"/>
                      <a:pt x="76" y="471"/>
                      <a:pt x="71" y="472"/>
                    </a:cubicBezTo>
                    <a:cubicBezTo>
                      <a:pt x="68" y="474"/>
                      <a:pt x="73" y="479"/>
                      <a:pt x="68" y="482"/>
                    </a:cubicBezTo>
                    <a:cubicBezTo>
                      <a:pt x="62" y="484"/>
                      <a:pt x="61" y="481"/>
                      <a:pt x="57" y="481"/>
                    </a:cubicBezTo>
                    <a:cubicBezTo>
                      <a:pt x="53" y="481"/>
                      <a:pt x="56" y="489"/>
                      <a:pt x="53" y="490"/>
                    </a:cubicBezTo>
                    <a:cubicBezTo>
                      <a:pt x="47" y="489"/>
                      <a:pt x="57" y="484"/>
                      <a:pt x="52" y="484"/>
                    </a:cubicBezTo>
                    <a:cubicBezTo>
                      <a:pt x="43" y="488"/>
                      <a:pt x="51" y="502"/>
                      <a:pt x="39" y="504"/>
                    </a:cubicBezTo>
                    <a:cubicBezTo>
                      <a:pt x="40" y="508"/>
                      <a:pt x="42" y="512"/>
                      <a:pt x="41" y="518"/>
                    </a:cubicBezTo>
                    <a:cubicBezTo>
                      <a:pt x="34" y="520"/>
                      <a:pt x="32" y="528"/>
                      <a:pt x="25" y="531"/>
                    </a:cubicBezTo>
                    <a:cubicBezTo>
                      <a:pt x="26" y="535"/>
                      <a:pt x="30" y="525"/>
                      <a:pt x="34" y="531"/>
                    </a:cubicBezTo>
                    <a:cubicBezTo>
                      <a:pt x="26" y="535"/>
                      <a:pt x="22" y="543"/>
                      <a:pt x="18" y="550"/>
                    </a:cubicBezTo>
                    <a:cubicBezTo>
                      <a:pt x="18" y="552"/>
                      <a:pt x="21" y="552"/>
                      <a:pt x="23" y="552"/>
                    </a:cubicBezTo>
                    <a:cubicBezTo>
                      <a:pt x="22" y="558"/>
                      <a:pt x="12" y="556"/>
                      <a:pt x="9" y="561"/>
                    </a:cubicBezTo>
                    <a:cubicBezTo>
                      <a:pt x="5" y="560"/>
                      <a:pt x="8" y="552"/>
                      <a:pt x="7" y="548"/>
                    </a:cubicBezTo>
                    <a:cubicBezTo>
                      <a:pt x="13" y="552"/>
                      <a:pt x="13" y="551"/>
                      <a:pt x="16" y="545"/>
                    </a:cubicBezTo>
                    <a:cubicBezTo>
                      <a:pt x="14" y="542"/>
                      <a:pt x="7" y="540"/>
                      <a:pt x="7" y="545"/>
                    </a:cubicBezTo>
                    <a:cubicBezTo>
                      <a:pt x="3" y="537"/>
                      <a:pt x="1" y="535"/>
                      <a:pt x="0" y="527"/>
                    </a:cubicBezTo>
                    <a:cubicBezTo>
                      <a:pt x="8" y="524"/>
                      <a:pt x="8" y="515"/>
                      <a:pt x="3" y="507"/>
                    </a:cubicBezTo>
                    <a:cubicBezTo>
                      <a:pt x="6" y="508"/>
                      <a:pt x="7" y="506"/>
                      <a:pt x="9" y="506"/>
                    </a:cubicBezTo>
                    <a:cubicBezTo>
                      <a:pt x="7" y="503"/>
                      <a:pt x="7" y="499"/>
                      <a:pt x="3" y="499"/>
                    </a:cubicBezTo>
                    <a:cubicBezTo>
                      <a:pt x="5" y="493"/>
                      <a:pt x="9" y="495"/>
                      <a:pt x="11" y="493"/>
                    </a:cubicBezTo>
                    <a:cubicBezTo>
                      <a:pt x="11" y="488"/>
                      <a:pt x="7" y="489"/>
                      <a:pt x="3" y="488"/>
                    </a:cubicBezTo>
                    <a:cubicBezTo>
                      <a:pt x="6" y="480"/>
                      <a:pt x="4" y="477"/>
                      <a:pt x="11" y="474"/>
                    </a:cubicBezTo>
                    <a:cubicBezTo>
                      <a:pt x="10" y="470"/>
                      <a:pt x="3" y="473"/>
                      <a:pt x="0" y="472"/>
                    </a:cubicBezTo>
                    <a:cubicBezTo>
                      <a:pt x="2" y="465"/>
                      <a:pt x="3" y="468"/>
                      <a:pt x="9" y="466"/>
                    </a:cubicBezTo>
                    <a:cubicBezTo>
                      <a:pt x="2" y="462"/>
                      <a:pt x="15" y="460"/>
                      <a:pt x="9" y="458"/>
                    </a:cubicBezTo>
                    <a:cubicBezTo>
                      <a:pt x="7" y="452"/>
                      <a:pt x="16" y="461"/>
                      <a:pt x="11" y="466"/>
                    </a:cubicBezTo>
                    <a:cubicBezTo>
                      <a:pt x="20" y="464"/>
                      <a:pt x="16" y="450"/>
                      <a:pt x="21" y="443"/>
                    </a:cubicBezTo>
                    <a:cubicBezTo>
                      <a:pt x="23" y="444"/>
                      <a:pt x="23" y="447"/>
                      <a:pt x="23" y="449"/>
                    </a:cubicBezTo>
                    <a:cubicBezTo>
                      <a:pt x="26" y="443"/>
                      <a:pt x="25" y="432"/>
                      <a:pt x="32" y="431"/>
                    </a:cubicBezTo>
                    <a:cubicBezTo>
                      <a:pt x="31" y="428"/>
                      <a:pt x="27" y="429"/>
                      <a:pt x="25" y="429"/>
                    </a:cubicBezTo>
                    <a:cubicBezTo>
                      <a:pt x="27" y="424"/>
                      <a:pt x="24" y="424"/>
                      <a:pt x="27" y="420"/>
                    </a:cubicBezTo>
                    <a:cubicBezTo>
                      <a:pt x="31" y="419"/>
                      <a:pt x="29" y="424"/>
                      <a:pt x="32" y="424"/>
                    </a:cubicBezTo>
                    <a:cubicBezTo>
                      <a:pt x="36" y="421"/>
                      <a:pt x="34" y="412"/>
                      <a:pt x="41" y="411"/>
                    </a:cubicBezTo>
                    <a:cubicBezTo>
                      <a:pt x="42" y="406"/>
                      <a:pt x="36" y="408"/>
                      <a:pt x="37" y="402"/>
                    </a:cubicBezTo>
                    <a:cubicBezTo>
                      <a:pt x="118" y="337"/>
                      <a:pt x="220" y="293"/>
                      <a:pt x="253" y="180"/>
                    </a:cubicBezTo>
                    <a:cubicBezTo>
                      <a:pt x="253" y="162"/>
                      <a:pt x="254" y="146"/>
                      <a:pt x="260" y="135"/>
                    </a:cubicBezTo>
                    <a:cubicBezTo>
                      <a:pt x="264" y="137"/>
                      <a:pt x="272" y="136"/>
                      <a:pt x="274" y="141"/>
                    </a:cubicBezTo>
                    <a:cubicBezTo>
                      <a:pt x="280" y="140"/>
                      <a:pt x="282" y="134"/>
                      <a:pt x="287" y="132"/>
                    </a:cubicBezTo>
                    <a:cubicBezTo>
                      <a:pt x="293" y="135"/>
                      <a:pt x="281" y="136"/>
                      <a:pt x="281" y="139"/>
                    </a:cubicBezTo>
                    <a:cubicBezTo>
                      <a:pt x="283" y="143"/>
                      <a:pt x="292" y="133"/>
                      <a:pt x="295" y="139"/>
                    </a:cubicBezTo>
                    <a:cubicBezTo>
                      <a:pt x="293" y="147"/>
                      <a:pt x="294" y="158"/>
                      <a:pt x="294" y="169"/>
                    </a:cubicBezTo>
                    <a:cubicBezTo>
                      <a:pt x="295" y="169"/>
                      <a:pt x="297" y="169"/>
                      <a:pt x="299" y="169"/>
                    </a:cubicBezTo>
                    <a:cubicBezTo>
                      <a:pt x="308" y="158"/>
                      <a:pt x="302" y="133"/>
                      <a:pt x="308" y="119"/>
                    </a:cubicBezTo>
                    <a:cubicBezTo>
                      <a:pt x="337" y="110"/>
                      <a:pt x="342" y="71"/>
                      <a:pt x="361" y="46"/>
                    </a:cubicBezTo>
                    <a:cubicBezTo>
                      <a:pt x="360" y="43"/>
                      <a:pt x="356" y="41"/>
                      <a:pt x="360" y="37"/>
                    </a:cubicBezTo>
                    <a:close/>
                    <a:moveTo>
                      <a:pt x="297" y="230"/>
                    </a:moveTo>
                    <a:cubicBezTo>
                      <a:pt x="300" y="226"/>
                      <a:pt x="305" y="218"/>
                      <a:pt x="301" y="212"/>
                    </a:cubicBezTo>
                    <a:cubicBezTo>
                      <a:pt x="299" y="212"/>
                      <a:pt x="297" y="212"/>
                      <a:pt x="295" y="212"/>
                    </a:cubicBezTo>
                    <a:cubicBezTo>
                      <a:pt x="293" y="215"/>
                      <a:pt x="291" y="229"/>
                      <a:pt x="297" y="230"/>
                    </a:cubicBezTo>
                    <a:close/>
                    <a:moveTo>
                      <a:pt x="244" y="329"/>
                    </a:moveTo>
                    <a:cubicBezTo>
                      <a:pt x="261" y="328"/>
                      <a:pt x="261" y="319"/>
                      <a:pt x="267" y="304"/>
                    </a:cubicBezTo>
                    <a:cubicBezTo>
                      <a:pt x="271" y="294"/>
                      <a:pt x="293" y="273"/>
                      <a:pt x="281" y="264"/>
                    </a:cubicBezTo>
                    <a:cubicBezTo>
                      <a:pt x="270" y="286"/>
                      <a:pt x="251" y="309"/>
                      <a:pt x="244" y="3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8" name="Freeform 20"/>
              <p:cNvSpPr>
                <a:spLocks/>
              </p:cNvSpPr>
              <p:nvPr/>
            </p:nvSpPr>
            <p:spPr bwMode="auto">
              <a:xfrm>
                <a:off x="498" y="1494"/>
                <a:ext cx="91" cy="159"/>
              </a:xfrm>
              <a:custGeom>
                <a:avLst/>
                <a:gdLst>
                  <a:gd name="T0" fmla="*/ 75 w 75"/>
                  <a:gd name="T1" fmla="*/ 4 h 131"/>
                  <a:gd name="T2" fmla="*/ 29 w 75"/>
                  <a:gd name="T3" fmla="*/ 122 h 131"/>
                  <a:gd name="T4" fmla="*/ 0 w 75"/>
                  <a:gd name="T5" fmla="*/ 129 h 131"/>
                  <a:gd name="T6" fmla="*/ 54 w 75"/>
                  <a:gd name="T7" fmla="*/ 3 h 131"/>
                  <a:gd name="T8" fmla="*/ 75 w 75"/>
                  <a:gd name="T9" fmla="*/ 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31">
                    <a:moveTo>
                      <a:pt x="75" y="4"/>
                    </a:moveTo>
                    <a:cubicBezTo>
                      <a:pt x="53" y="36"/>
                      <a:pt x="34" y="72"/>
                      <a:pt x="29" y="122"/>
                    </a:cubicBezTo>
                    <a:cubicBezTo>
                      <a:pt x="20" y="124"/>
                      <a:pt x="8" y="131"/>
                      <a:pt x="0" y="129"/>
                    </a:cubicBezTo>
                    <a:cubicBezTo>
                      <a:pt x="11" y="80"/>
                      <a:pt x="21" y="30"/>
                      <a:pt x="54" y="3"/>
                    </a:cubicBezTo>
                    <a:cubicBezTo>
                      <a:pt x="57" y="8"/>
                      <a:pt x="66" y="0"/>
                      <a:pt x="7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9" name="Freeform 21"/>
              <p:cNvSpPr>
                <a:spLocks noEditPoints="1"/>
              </p:cNvSpPr>
              <p:nvPr/>
            </p:nvSpPr>
            <p:spPr bwMode="auto">
              <a:xfrm>
                <a:off x="1443" y="1656"/>
                <a:ext cx="228" cy="268"/>
              </a:xfrm>
              <a:custGeom>
                <a:avLst/>
                <a:gdLst>
                  <a:gd name="T0" fmla="*/ 16 w 188"/>
                  <a:gd name="T1" fmla="*/ 118 h 220"/>
                  <a:gd name="T2" fmla="*/ 24 w 188"/>
                  <a:gd name="T3" fmla="*/ 107 h 220"/>
                  <a:gd name="T4" fmla="*/ 18 w 188"/>
                  <a:gd name="T5" fmla="*/ 89 h 220"/>
                  <a:gd name="T6" fmla="*/ 27 w 188"/>
                  <a:gd name="T7" fmla="*/ 82 h 220"/>
                  <a:gd name="T8" fmla="*/ 47 w 188"/>
                  <a:gd name="T9" fmla="*/ 91 h 220"/>
                  <a:gd name="T10" fmla="*/ 9 w 188"/>
                  <a:gd name="T11" fmla="*/ 25 h 220"/>
                  <a:gd name="T12" fmla="*/ 11 w 188"/>
                  <a:gd name="T13" fmla="*/ 36 h 220"/>
                  <a:gd name="T14" fmla="*/ 32 w 188"/>
                  <a:gd name="T15" fmla="*/ 64 h 220"/>
                  <a:gd name="T16" fmla="*/ 40 w 188"/>
                  <a:gd name="T17" fmla="*/ 70 h 220"/>
                  <a:gd name="T18" fmla="*/ 77 w 188"/>
                  <a:gd name="T19" fmla="*/ 84 h 220"/>
                  <a:gd name="T20" fmla="*/ 97 w 188"/>
                  <a:gd name="T21" fmla="*/ 109 h 220"/>
                  <a:gd name="T22" fmla="*/ 152 w 188"/>
                  <a:gd name="T23" fmla="*/ 7 h 220"/>
                  <a:gd name="T24" fmla="*/ 166 w 188"/>
                  <a:gd name="T25" fmla="*/ 0 h 220"/>
                  <a:gd name="T26" fmla="*/ 175 w 188"/>
                  <a:gd name="T27" fmla="*/ 161 h 220"/>
                  <a:gd name="T28" fmla="*/ 145 w 188"/>
                  <a:gd name="T29" fmla="*/ 166 h 220"/>
                  <a:gd name="T30" fmla="*/ 109 w 188"/>
                  <a:gd name="T31" fmla="*/ 169 h 220"/>
                  <a:gd name="T32" fmla="*/ 66 w 188"/>
                  <a:gd name="T33" fmla="*/ 182 h 220"/>
                  <a:gd name="T34" fmla="*/ 68 w 188"/>
                  <a:gd name="T35" fmla="*/ 201 h 220"/>
                  <a:gd name="T36" fmla="*/ 57 w 188"/>
                  <a:gd name="T37" fmla="*/ 212 h 220"/>
                  <a:gd name="T38" fmla="*/ 40 w 188"/>
                  <a:gd name="T39" fmla="*/ 175 h 220"/>
                  <a:gd name="T40" fmla="*/ 16 w 188"/>
                  <a:gd name="T41" fmla="*/ 130 h 220"/>
                  <a:gd name="T42" fmla="*/ 75 w 188"/>
                  <a:gd name="T43" fmla="*/ 84 h 220"/>
                  <a:gd name="T44" fmla="*/ 75 w 188"/>
                  <a:gd name="T45" fmla="*/ 84 h 220"/>
                  <a:gd name="T46" fmla="*/ 36 w 188"/>
                  <a:gd name="T47" fmla="*/ 98 h 220"/>
                  <a:gd name="T48" fmla="*/ 25 w 188"/>
                  <a:gd name="T49" fmla="*/ 88 h 220"/>
                  <a:gd name="T50" fmla="*/ 111 w 188"/>
                  <a:gd name="T51" fmla="*/ 105 h 220"/>
                  <a:gd name="T52" fmla="*/ 111 w 188"/>
                  <a:gd name="T53" fmla="*/ 105 h 220"/>
                  <a:gd name="T54" fmla="*/ 152 w 188"/>
                  <a:gd name="T55" fmla="*/ 109 h 220"/>
                  <a:gd name="T56" fmla="*/ 130 w 188"/>
                  <a:gd name="T57" fmla="*/ 150 h 220"/>
                  <a:gd name="T58" fmla="*/ 130 w 188"/>
                  <a:gd name="T59" fmla="*/ 150 h 220"/>
                  <a:gd name="T60" fmla="*/ 145 w 188"/>
                  <a:gd name="T61" fmla="*/ 153 h 220"/>
                  <a:gd name="T62" fmla="*/ 143 w 188"/>
                  <a:gd name="T63" fmla="*/ 159 h 220"/>
                  <a:gd name="T64" fmla="*/ 48 w 188"/>
                  <a:gd name="T65" fmla="*/ 180 h 220"/>
                  <a:gd name="T66" fmla="*/ 54 w 188"/>
                  <a:gd name="T67" fmla="*/ 17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8" h="220">
                    <a:moveTo>
                      <a:pt x="41" y="141"/>
                    </a:moveTo>
                    <a:cubicBezTo>
                      <a:pt x="33" y="133"/>
                      <a:pt x="30" y="121"/>
                      <a:pt x="16" y="118"/>
                    </a:cubicBezTo>
                    <a:cubicBezTo>
                      <a:pt x="14" y="109"/>
                      <a:pt x="14" y="108"/>
                      <a:pt x="11" y="98"/>
                    </a:cubicBezTo>
                    <a:cubicBezTo>
                      <a:pt x="15" y="101"/>
                      <a:pt x="19" y="105"/>
                      <a:pt x="24" y="107"/>
                    </a:cubicBezTo>
                    <a:cubicBezTo>
                      <a:pt x="19" y="100"/>
                      <a:pt x="12" y="94"/>
                      <a:pt x="8" y="86"/>
                    </a:cubicBezTo>
                    <a:cubicBezTo>
                      <a:pt x="13" y="85"/>
                      <a:pt x="16" y="86"/>
                      <a:pt x="18" y="89"/>
                    </a:cubicBezTo>
                    <a:cubicBezTo>
                      <a:pt x="21" y="89"/>
                      <a:pt x="18" y="87"/>
                      <a:pt x="18" y="84"/>
                    </a:cubicBezTo>
                    <a:cubicBezTo>
                      <a:pt x="25" y="84"/>
                      <a:pt x="24" y="87"/>
                      <a:pt x="27" y="82"/>
                    </a:cubicBezTo>
                    <a:cubicBezTo>
                      <a:pt x="41" y="85"/>
                      <a:pt x="43" y="99"/>
                      <a:pt x="52" y="105"/>
                    </a:cubicBezTo>
                    <a:cubicBezTo>
                      <a:pt x="56" y="100"/>
                      <a:pt x="49" y="94"/>
                      <a:pt x="47" y="91"/>
                    </a:cubicBezTo>
                    <a:cubicBezTo>
                      <a:pt x="33" y="74"/>
                      <a:pt x="12" y="58"/>
                      <a:pt x="0" y="39"/>
                    </a:cubicBezTo>
                    <a:cubicBezTo>
                      <a:pt x="1" y="32"/>
                      <a:pt x="9" y="33"/>
                      <a:pt x="9" y="25"/>
                    </a:cubicBezTo>
                    <a:cubicBezTo>
                      <a:pt x="16" y="24"/>
                      <a:pt x="15" y="31"/>
                      <a:pt x="20" y="31"/>
                    </a:cubicBezTo>
                    <a:cubicBezTo>
                      <a:pt x="19" y="38"/>
                      <a:pt x="12" y="28"/>
                      <a:pt x="11" y="36"/>
                    </a:cubicBezTo>
                    <a:cubicBezTo>
                      <a:pt x="23" y="42"/>
                      <a:pt x="27" y="54"/>
                      <a:pt x="40" y="56"/>
                    </a:cubicBezTo>
                    <a:cubicBezTo>
                      <a:pt x="38" y="60"/>
                      <a:pt x="34" y="60"/>
                      <a:pt x="32" y="64"/>
                    </a:cubicBezTo>
                    <a:cubicBezTo>
                      <a:pt x="39" y="68"/>
                      <a:pt x="50" y="67"/>
                      <a:pt x="57" y="70"/>
                    </a:cubicBezTo>
                    <a:cubicBezTo>
                      <a:pt x="54" y="74"/>
                      <a:pt x="43" y="71"/>
                      <a:pt x="40" y="70"/>
                    </a:cubicBezTo>
                    <a:cubicBezTo>
                      <a:pt x="51" y="79"/>
                      <a:pt x="69" y="82"/>
                      <a:pt x="86" y="77"/>
                    </a:cubicBezTo>
                    <a:cubicBezTo>
                      <a:pt x="85" y="82"/>
                      <a:pt x="78" y="80"/>
                      <a:pt x="77" y="84"/>
                    </a:cubicBezTo>
                    <a:cubicBezTo>
                      <a:pt x="83" y="89"/>
                      <a:pt x="91" y="82"/>
                      <a:pt x="98" y="84"/>
                    </a:cubicBezTo>
                    <a:cubicBezTo>
                      <a:pt x="101" y="93"/>
                      <a:pt x="99" y="101"/>
                      <a:pt x="97" y="109"/>
                    </a:cubicBezTo>
                    <a:cubicBezTo>
                      <a:pt x="107" y="80"/>
                      <a:pt x="135" y="60"/>
                      <a:pt x="136" y="27"/>
                    </a:cubicBezTo>
                    <a:cubicBezTo>
                      <a:pt x="143" y="23"/>
                      <a:pt x="147" y="15"/>
                      <a:pt x="152" y="7"/>
                    </a:cubicBezTo>
                    <a:cubicBezTo>
                      <a:pt x="165" y="12"/>
                      <a:pt x="158" y="38"/>
                      <a:pt x="170" y="45"/>
                    </a:cubicBezTo>
                    <a:cubicBezTo>
                      <a:pt x="174" y="27"/>
                      <a:pt x="170" y="12"/>
                      <a:pt x="166" y="0"/>
                    </a:cubicBezTo>
                    <a:cubicBezTo>
                      <a:pt x="174" y="3"/>
                      <a:pt x="180" y="16"/>
                      <a:pt x="182" y="25"/>
                    </a:cubicBezTo>
                    <a:cubicBezTo>
                      <a:pt x="188" y="60"/>
                      <a:pt x="179" y="126"/>
                      <a:pt x="175" y="161"/>
                    </a:cubicBezTo>
                    <a:cubicBezTo>
                      <a:pt x="174" y="167"/>
                      <a:pt x="177" y="172"/>
                      <a:pt x="171" y="177"/>
                    </a:cubicBezTo>
                    <a:cubicBezTo>
                      <a:pt x="158" y="178"/>
                      <a:pt x="153" y="163"/>
                      <a:pt x="145" y="166"/>
                    </a:cubicBezTo>
                    <a:cubicBezTo>
                      <a:pt x="139" y="168"/>
                      <a:pt x="151" y="167"/>
                      <a:pt x="148" y="173"/>
                    </a:cubicBezTo>
                    <a:cubicBezTo>
                      <a:pt x="137" y="175"/>
                      <a:pt x="117" y="169"/>
                      <a:pt x="109" y="169"/>
                    </a:cubicBezTo>
                    <a:cubicBezTo>
                      <a:pt x="108" y="180"/>
                      <a:pt x="126" y="179"/>
                      <a:pt x="129" y="191"/>
                    </a:cubicBezTo>
                    <a:cubicBezTo>
                      <a:pt x="107" y="200"/>
                      <a:pt x="86" y="185"/>
                      <a:pt x="66" y="182"/>
                    </a:cubicBezTo>
                    <a:cubicBezTo>
                      <a:pt x="75" y="190"/>
                      <a:pt x="89" y="193"/>
                      <a:pt x="100" y="198"/>
                    </a:cubicBezTo>
                    <a:cubicBezTo>
                      <a:pt x="95" y="205"/>
                      <a:pt x="77" y="209"/>
                      <a:pt x="68" y="201"/>
                    </a:cubicBezTo>
                    <a:cubicBezTo>
                      <a:pt x="64" y="207"/>
                      <a:pt x="77" y="209"/>
                      <a:pt x="82" y="210"/>
                    </a:cubicBezTo>
                    <a:cubicBezTo>
                      <a:pt x="78" y="220"/>
                      <a:pt x="66" y="216"/>
                      <a:pt x="57" y="212"/>
                    </a:cubicBezTo>
                    <a:cubicBezTo>
                      <a:pt x="53" y="191"/>
                      <a:pt x="38" y="181"/>
                      <a:pt x="25" y="168"/>
                    </a:cubicBezTo>
                    <a:cubicBezTo>
                      <a:pt x="28" y="160"/>
                      <a:pt x="36" y="171"/>
                      <a:pt x="40" y="175"/>
                    </a:cubicBezTo>
                    <a:cubicBezTo>
                      <a:pt x="45" y="175"/>
                      <a:pt x="45" y="171"/>
                      <a:pt x="50" y="171"/>
                    </a:cubicBezTo>
                    <a:cubicBezTo>
                      <a:pt x="37" y="160"/>
                      <a:pt x="30" y="142"/>
                      <a:pt x="16" y="130"/>
                    </a:cubicBezTo>
                    <a:cubicBezTo>
                      <a:pt x="28" y="123"/>
                      <a:pt x="32" y="140"/>
                      <a:pt x="41" y="141"/>
                    </a:cubicBezTo>
                    <a:close/>
                    <a:moveTo>
                      <a:pt x="75" y="84"/>
                    </a:moveTo>
                    <a:cubicBezTo>
                      <a:pt x="71" y="85"/>
                      <a:pt x="62" y="82"/>
                      <a:pt x="61" y="86"/>
                    </a:cubicBezTo>
                    <a:cubicBezTo>
                      <a:pt x="66" y="88"/>
                      <a:pt x="73" y="89"/>
                      <a:pt x="75" y="84"/>
                    </a:cubicBezTo>
                    <a:close/>
                    <a:moveTo>
                      <a:pt x="25" y="96"/>
                    </a:moveTo>
                    <a:cubicBezTo>
                      <a:pt x="31" y="96"/>
                      <a:pt x="33" y="106"/>
                      <a:pt x="36" y="98"/>
                    </a:cubicBezTo>
                    <a:cubicBezTo>
                      <a:pt x="27" y="95"/>
                      <a:pt x="37" y="97"/>
                      <a:pt x="38" y="95"/>
                    </a:cubicBezTo>
                    <a:cubicBezTo>
                      <a:pt x="33" y="93"/>
                      <a:pt x="29" y="90"/>
                      <a:pt x="25" y="88"/>
                    </a:cubicBezTo>
                    <a:cubicBezTo>
                      <a:pt x="25" y="91"/>
                      <a:pt x="25" y="93"/>
                      <a:pt x="25" y="96"/>
                    </a:cubicBezTo>
                    <a:close/>
                    <a:moveTo>
                      <a:pt x="111" y="105"/>
                    </a:moveTo>
                    <a:cubicBezTo>
                      <a:pt x="119" y="107"/>
                      <a:pt x="115" y="94"/>
                      <a:pt x="111" y="93"/>
                    </a:cubicBezTo>
                    <a:cubicBezTo>
                      <a:pt x="107" y="97"/>
                      <a:pt x="112" y="99"/>
                      <a:pt x="111" y="105"/>
                    </a:cubicBezTo>
                    <a:close/>
                    <a:moveTo>
                      <a:pt x="154" y="128"/>
                    </a:moveTo>
                    <a:cubicBezTo>
                      <a:pt x="156" y="125"/>
                      <a:pt x="158" y="110"/>
                      <a:pt x="152" y="109"/>
                    </a:cubicBezTo>
                    <a:cubicBezTo>
                      <a:pt x="152" y="116"/>
                      <a:pt x="147" y="125"/>
                      <a:pt x="154" y="128"/>
                    </a:cubicBezTo>
                    <a:close/>
                    <a:moveTo>
                      <a:pt x="130" y="150"/>
                    </a:moveTo>
                    <a:cubicBezTo>
                      <a:pt x="138" y="153"/>
                      <a:pt x="138" y="133"/>
                      <a:pt x="132" y="134"/>
                    </a:cubicBezTo>
                    <a:cubicBezTo>
                      <a:pt x="129" y="137"/>
                      <a:pt x="131" y="144"/>
                      <a:pt x="130" y="150"/>
                    </a:cubicBezTo>
                    <a:close/>
                    <a:moveTo>
                      <a:pt x="143" y="159"/>
                    </a:moveTo>
                    <a:cubicBezTo>
                      <a:pt x="143" y="156"/>
                      <a:pt x="144" y="155"/>
                      <a:pt x="145" y="153"/>
                    </a:cubicBezTo>
                    <a:cubicBezTo>
                      <a:pt x="142" y="153"/>
                      <a:pt x="139" y="153"/>
                      <a:pt x="136" y="153"/>
                    </a:cubicBezTo>
                    <a:cubicBezTo>
                      <a:pt x="135" y="158"/>
                      <a:pt x="138" y="159"/>
                      <a:pt x="143" y="159"/>
                    </a:cubicBezTo>
                    <a:close/>
                    <a:moveTo>
                      <a:pt x="54" y="178"/>
                    </a:moveTo>
                    <a:cubicBezTo>
                      <a:pt x="52" y="179"/>
                      <a:pt x="49" y="178"/>
                      <a:pt x="48" y="180"/>
                    </a:cubicBezTo>
                    <a:cubicBezTo>
                      <a:pt x="57" y="177"/>
                      <a:pt x="61" y="186"/>
                      <a:pt x="65" y="182"/>
                    </a:cubicBezTo>
                    <a:cubicBezTo>
                      <a:pt x="60" y="181"/>
                      <a:pt x="59" y="175"/>
                      <a:pt x="54" y="175"/>
                    </a:cubicBezTo>
                    <a:cubicBezTo>
                      <a:pt x="54" y="176"/>
                      <a:pt x="54" y="177"/>
                      <a:pt x="54" y="1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0" name="Freeform 22"/>
              <p:cNvSpPr>
                <a:spLocks/>
              </p:cNvSpPr>
              <p:nvPr/>
            </p:nvSpPr>
            <p:spPr bwMode="auto">
              <a:xfrm>
                <a:off x="321" y="1676"/>
                <a:ext cx="226" cy="471"/>
              </a:xfrm>
              <a:custGeom>
                <a:avLst/>
                <a:gdLst>
                  <a:gd name="T0" fmla="*/ 145 w 186"/>
                  <a:gd name="T1" fmla="*/ 0 h 388"/>
                  <a:gd name="T2" fmla="*/ 170 w 186"/>
                  <a:gd name="T3" fmla="*/ 16 h 388"/>
                  <a:gd name="T4" fmla="*/ 159 w 186"/>
                  <a:gd name="T5" fmla="*/ 20 h 388"/>
                  <a:gd name="T6" fmla="*/ 161 w 186"/>
                  <a:gd name="T7" fmla="*/ 29 h 388"/>
                  <a:gd name="T8" fmla="*/ 136 w 186"/>
                  <a:gd name="T9" fmla="*/ 48 h 388"/>
                  <a:gd name="T10" fmla="*/ 143 w 186"/>
                  <a:gd name="T11" fmla="*/ 50 h 388"/>
                  <a:gd name="T12" fmla="*/ 145 w 186"/>
                  <a:gd name="T13" fmla="*/ 41 h 388"/>
                  <a:gd name="T14" fmla="*/ 162 w 186"/>
                  <a:gd name="T15" fmla="*/ 32 h 388"/>
                  <a:gd name="T16" fmla="*/ 173 w 186"/>
                  <a:gd name="T17" fmla="*/ 40 h 388"/>
                  <a:gd name="T18" fmla="*/ 186 w 186"/>
                  <a:gd name="T19" fmla="*/ 34 h 388"/>
                  <a:gd name="T20" fmla="*/ 175 w 186"/>
                  <a:gd name="T21" fmla="*/ 70 h 388"/>
                  <a:gd name="T22" fmla="*/ 145 w 186"/>
                  <a:gd name="T23" fmla="*/ 72 h 388"/>
                  <a:gd name="T24" fmla="*/ 148 w 186"/>
                  <a:gd name="T25" fmla="*/ 61 h 388"/>
                  <a:gd name="T26" fmla="*/ 136 w 186"/>
                  <a:gd name="T27" fmla="*/ 91 h 388"/>
                  <a:gd name="T28" fmla="*/ 141 w 186"/>
                  <a:gd name="T29" fmla="*/ 79 h 388"/>
                  <a:gd name="T30" fmla="*/ 173 w 186"/>
                  <a:gd name="T31" fmla="*/ 82 h 388"/>
                  <a:gd name="T32" fmla="*/ 166 w 186"/>
                  <a:gd name="T33" fmla="*/ 139 h 388"/>
                  <a:gd name="T34" fmla="*/ 171 w 186"/>
                  <a:gd name="T35" fmla="*/ 143 h 388"/>
                  <a:gd name="T36" fmla="*/ 145 w 186"/>
                  <a:gd name="T37" fmla="*/ 146 h 388"/>
                  <a:gd name="T38" fmla="*/ 146 w 186"/>
                  <a:gd name="T39" fmla="*/ 137 h 388"/>
                  <a:gd name="T40" fmla="*/ 97 w 186"/>
                  <a:gd name="T41" fmla="*/ 159 h 388"/>
                  <a:gd name="T42" fmla="*/ 105 w 186"/>
                  <a:gd name="T43" fmla="*/ 146 h 388"/>
                  <a:gd name="T44" fmla="*/ 114 w 186"/>
                  <a:gd name="T45" fmla="*/ 73 h 388"/>
                  <a:gd name="T46" fmla="*/ 102 w 186"/>
                  <a:gd name="T47" fmla="*/ 88 h 388"/>
                  <a:gd name="T48" fmla="*/ 40 w 186"/>
                  <a:gd name="T49" fmla="*/ 242 h 388"/>
                  <a:gd name="T50" fmla="*/ 56 w 186"/>
                  <a:gd name="T51" fmla="*/ 237 h 388"/>
                  <a:gd name="T52" fmla="*/ 41 w 186"/>
                  <a:gd name="T53" fmla="*/ 266 h 388"/>
                  <a:gd name="T54" fmla="*/ 50 w 186"/>
                  <a:gd name="T55" fmla="*/ 264 h 388"/>
                  <a:gd name="T56" fmla="*/ 59 w 186"/>
                  <a:gd name="T57" fmla="*/ 301 h 388"/>
                  <a:gd name="T58" fmla="*/ 43 w 186"/>
                  <a:gd name="T59" fmla="*/ 291 h 388"/>
                  <a:gd name="T60" fmla="*/ 36 w 186"/>
                  <a:gd name="T61" fmla="*/ 333 h 388"/>
                  <a:gd name="T62" fmla="*/ 59 w 186"/>
                  <a:gd name="T63" fmla="*/ 331 h 388"/>
                  <a:gd name="T64" fmla="*/ 61 w 186"/>
                  <a:gd name="T65" fmla="*/ 321 h 388"/>
                  <a:gd name="T66" fmla="*/ 66 w 186"/>
                  <a:gd name="T67" fmla="*/ 331 h 388"/>
                  <a:gd name="T68" fmla="*/ 91 w 186"/>
                  <a:gd name="T69" fmla="*/ 342 h 388"/>
                  <a:gd name="T70" fmla="*/ 47 w 186"/>
                  <a:gd name="T71" fmla="*/ 337 h 388"/>
                  <a:gd name="T72" fmla="*/ 54 w 186"/>
                  <a:gd name="T73" fmla="*/ 346 h 388"/>
                  <a:gd name="T74" fmla="*/ 47 w 186"/>
                  <a:gd name="T75" fmla="*/ 347 h 388"/>
                  <a:gd name="T76" fmla="*/ 52 w 186"/>
                  <a:gd name="T77" fmla="*/ 360 h 388"/>
                  <a:gd name="T78" fmla="*/ 36 w 186"/>
                  <a:gd name="T79" fmla="*/ 360 h 388"/>
                  <a:gd name="T80" fmla="*/ 38 w 186"/>
                  <a:gd name="T81" fmla="*/ 349 h 388"/>
                  <a:gd name="T82" fmla="*/ 33 w 186"/>
                  <a:gd name="T83" fmla="*/ 349 h 388"/>
                  <a:gd name="T84" fmla="*/ 33 w 186"/>
                  <a:gd name="T85" fmla="*/ 360 h 388"/>
                  <a:gd name="T86" fmla="*/ 9 w 186"/>
                  <a:gd name="T87" fmla="*/ 367 h 388"/>
                  <a:gd name="T88" fmla="*/ 24 w 186"/>
                  <a:gd name="T89" fmla="*/ 367 h 388"/>
                  <a:gd name="T90" fmla="*/ 27 w 186"/>
                  <a:gd name="T91" fmla="*/ 385 h 388"/>
                  <a:gd name="T92" fmla="*/ 2 w 186"/>
                  <a:gd name="T93" fmla="*/ 387 h 388"/>
                  <a:gd name="T94" fmla="*/ 6 w 186"/>
                  <a:gd name="T95" fmla="*/ 369 h 388"/>
                  <a:gd name="T96" fmla="*/ 52 w 186"/>
                  <a:gd name="T97" fmla="*/ 146 h 388"/>
                  <a:gd name="T98" fmla="*/ 82 w 186"/>
                  <a:gd name="T99" fmla="*/ 89 h 388"/>
                  <a:gd name="T100" fmla="*/ 123 w 186"/>
                  <a:gd name="T101" fmla="*/ 15 h 388"/>
                  <a:gd name="T102" fmla="*/ 145 w 186"/>
                  <a:gd name="T10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" h="388">
                    <a:moveTo>
                      <a:pt x="145" y="0"/>
                    </a:moveTo>
                    <a:cubicBezTo>
                      <a:pt x="153" y="6"/>
                      <a:pt x="165" y="8"/>
                      <a:pt x="170" y="16"/>
                    </a:cubicBezTo>
                    <a:cubicBezTo>
                      <a:pt x="162" y="11"/>
                      <a:pt x="168" y="22"/>
                      <a:pt x="159" y="20"/>
                    </a:cubicBezTo>
                    <a:cubicBezTo>
                      <a:pt x="157" y="25"/>
                      <a:pt x="161" y="25"/>
                      <a:pt x="161" y="29"/>
                    </a:cubicBezTo>
                    <a:cubicBezTo>
                      <a:pt x="153" y="36"/>
                      <a:pt x="139" y="37"/>
                      <a:pt x="136" y="48"/>
                    </a:cubicBezTo>
                    <a:cubicBezTo>
                      <a:pt x="138" y="51"/>
                      <a:pt x="141" y="53"/>
                      <a:pt x="143" y="50"/>
                    </a:cubicBezTo>
                    <a:cubicBezTo>
                      <a:pt x="147" y="50"/>
                      <a:pt x="144" y="44"/>
                      <a:pt x="145" y="41"/>
                    </a:cubicBezTo>
                    <a:cubicBezTo>
                      <a:pt x="151" y="39"/>
                      <a:pt x="160" y="39"/>
                      <a:pt x="162" y="32"/>
                    </a:cubicBezTo>
                    <a:cubicBezTo>
                      <a:pt x="169" y="32"/>
                      <a:pt x="168" y="38"/>
                      <a:pt x="173" y="40"/>
                    </a:cubicBezTo>
                    <a:cubicBezTo>
                      <a:pt x="178" y="38"/>
                      <a:pt x="181" y="35"/>
                      <a:pt x="186" y="34"/>
                    </a:cubicBezTo>
                    <a:cubicBezTo>
                      <a:pt x="182" y="46"/>
                      <a:pt x="180" y="60"/>
                      <a:pt x="175" y="70"/>
                    </a:cubicBezTo>
                    <a:cubicBezTo>
                      <a:pt x="164" y="73"/>
                      <a:pt x="158" y="73"/>
                      <a:pt x="145" y="72"/>
                    </a:cubicBezTo>
                    <a:cubicBezTo>
                      <a:pt x="144" y="66"/>
                      <a:pt x="150" y="68"/>
                      <a:pt x="148" y="61"/>
                    </a:cubicBezTo>
                    <a:cubicBezTo>
                      <a:pt x="142" y="68"/>
                      <a:pt x="126" y="80"/>
                      <a:pt x="136" y="91"/>
                    </a:cubicBezTo>
                    <a:cubicBezTo>
                      <a:pt x="139" y="89"/>
                      <a:pt x="140" y="83"/>
                      <a:pt x="141" y="79"/>
                    </a:cubicBezTo>
                    <a:cubicBezTo>
                      <a:pt x="159" y="78"/>
                      <a:pt x="160" y="81"/>
                      <a:pt x="173" y="82"/>
                    </a:cubicBezTo>
                    <a:cubicBezTo>
                      <a:pt x="170" y="100"/>
                      <a:pt x="181" y="132"/>
                      <a:pt x="166" y="139"/>
                    </a:cubicBezTo>
                    <a:cubicBezTo>
                      <a:pt x="167" y="141"/>
                      <a:pt x="169" y="142"/>
                      <a:pt x="171" y="143"/>
                    </a:cubicBezTo>
                    <a:cubicBezTo>
                      <a:pt x="162" y="142"/>
                      <a:pt x="154" y="148"/>
                      <a:pt x="145" y="146"/>
                    </a:cubicBezTo>
                    <a:cubicBezTo>
                      <a:pt x="143" y="141"/>
                      <a:pt x="147" y="142"/>
                      <a:pt x="146" y="137"/>
                    </a:cubicBezTo>
                    <a:cubicBezTo>
                      <a:pt x="125" y="140"/>
                      <a:pt x="112" y="151"/>
                      <a:pt x="97" y="159"/>
                    </a:cubicBezTo>
                    <a:cubicBezTo>
                      <a:pt x="97" y="152"/>
                      <a:pt x="99" y="147"/>
                      <a:pt x="105" y="146"/>
                    </a:cubicBezTo>
                    <a:cubicBezTo>
                      <a:pt x="101" y="118"/>
                      <a:pt x="111" y="99"/>
                      <a:pt x="114" y="73"/>
                    </a:cubicBezTo>
                    <a:cubicBezTo>
                      <a:pt x="106" y="74"/>
                      <a:pt x="103" y="80"/>
                      <a:pt x="102" y="88"/>
                    </a:cubicBezTo>
                    <a:cubicBezTo>
                      <a:pt x="72" y="129"/>
                      <a:pt x="39" y="176"/>
                      <a:pt x="40" y="242"/>
                    </a:cubicBezTo>
                    <a:cubicBezTo>
                      <a:pt x="49" y="245"/>
                      <a:pt x="49" y="238"/>
                      <a:pt x="56" y="237"/>
                    </a:cubicBezTo>
                    <a:cubicBezTo>
                      <a:pt x="53" y="249"/>
                      <a:pt x="48" y="258"/>
                      <a:pt x="41" y="266"/>
                    </a:cubicBezTo>
                    <a:cubicBezTo>
                      <a:pt x="44" y="271"/>
                      <a:pt x="46" y="262"/>
                      <a:pt x="50" y="264"/>
                    </a:cubicBezTo>
                    <a:cubicBezTo>
                      <a:pt x="40" y="279"/>
                      <a:pt x="61" y="290"/>
                      <a:pt x="59" y="301"/>
                    </a:cubicBezTo>
                    <a:cubicBezTo>
                      <a:pt x="50" y="301"/>
                      <a:pt x="51" y="292"/>
                      <a:pt x="43" y="291"/>
                    </a:cubicBezTo>
                    <a:cubicBezTo>
                      <a:pt x="37" y="301"/>
                      <a:pt x="38" y="318"/>
                      <a:pt x="36" y="333"/>
                    </a:cubicBezTo>
                    <a:cubicBezTo>
                      <a:pt x="41" y="335"/>
                      <a:pt x="49" y="326"/>
                      <a:pt x="59" y="331"/>
                    </a:cubicBezTo>
                    <a:cubicBezTo>
                      <a:pt x="66" y="330"/>
                      <a:pt x="59" y="327"/>
                      <a:pt x="61" y="321"/>
                    </a:cubicBezTo>
                    <a:cubicBezTo>
                      <a:pt x="70" y="320"/>
                      <a:pt x="61" y="327"/>
                      <a:pt x="66" y="331"/>
                    </a:cubicBezTo>
                    <a:cubicBezTo>
                      <a:pt x="81" y="329"/>
                      <a:pt x="83" y="339"/>
                      <a:pt x="91" y="342"/>
                    </a:cubicBezTo>
                    <a:cubicBezTo>
                      <a:pt x="77" y="349"/>
                      <a:pt x="54" y="331"/>
                      <a:pt x="47" y="337"/>
                    </a:cubicBezTo>
                    <a:cubicBezTo>
                      <a:pt x="45" y="344"/>
                      <a:pt x="56" y="338"/>
                      <a:pt x="54" y="346"/>
                    </a:cubicBezTo>
                    <a:cubicBezTo>
                      <a:pt x="52" y="347"/>
                      <a:pt x="50" y="348"/>
                      <a:pt x="47" y="347"/>
                    </a:cubicBezTo>
                    <a:cubicBezTo>
                      <a:pt x="48" y="352"/>
                      <a:pt x="54" y="352"/>
                      <a:pt x="52" y="360"/>
                    </a:cubicBezTo>
                    <a:cubicBezTo>
                      <a:pt x="47" y="363"/>
                      <a:pt x="45" y="360"/>
                      <a:pt x="36" y="360"/>
                    </a:cubicBezTo>
                    <a:cubicBezTo>
                      <a:pt x="36" y="356"/>
                      <a:pt x="39" y="355"/>
                      <a:pt x="38" y="349"/>
                    </a:cubicBezTo>
                    <a:cubicBezTo>
                      <a:pt x="36" y="349"/>
                      <a:pt x="34" y="349"/>
                      <a:pt x="33" y="349"/>
                    </a:cubicBezTo>
                    <a:cubicBezTo>
                      <a:pt x="27" y="351"/>
                      <a:pt x="33" y="357"/>
                      <a:pt x="33" y="360"/>
                    </a:cubicBezTo>
                    <a:cubicBezTo>
                      <a:pt x="28" y="366"/>
                      <a:pt x="13" y="360"/>
                      <a:pt x="9" y="367"/>
                    </a:cubicBezTo>
                    <a:cubicBezTo>
                      <a:pt x="13" y="376"/>
                      <a:pt x="17" y="366"/>
                      <a:pt x="24" y="367"/>
                    </a:cubicBezTo>
                    <a:cubicBezTo>
                      <a:pt x="27" y="371"/>
                      <a:pt x="24" y="380"/>
                      <a:pt x="27" y="385"/>
                    </a:cubicBezTo>
                    <a:cubicBezTo>
                      <a:pt x="19" y="386"/>
                      <a:pt x="12" y="388"/>
                      <a:pt x="2" y="387"/>
                    </a:cubicBezTo>
                    <a:cubicBezTo>
                      <a:pt x="0" y="382"/>
                      <a:pt x="2" y="373"/>
                      <a:pt x="6" y="369"/>
                    </a:cubicBezTo>
                    <a:cubicBezTo>
                      <a:pt x="14" y="294"/>
                      <a:pt x="25" y="207"/>
                      <a:pt x="52" y="146"/>
                    </a:cubicBezTo>
                    <a:cubicBezTo>
                      <a:pt x="65" y="130"/>
                      <a:pt x="74" y="110"/>
                      <a:pt x="82" y="89"/>
                    </a:cubicBezTo>
                    <a:cubicBezTo>
                      <a:pt x="103" y="72"/>
                      <a:pt x="109" y="39"/>
                      <a:pt x="123" y="15"/>
                    </a:cubicBezTo>
                    <a:cubicBezTo>
                      <a:pt x="133" y="17"/>
                      <a:pt x="141" y="9"/>
                      <a:pt x="14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1" name="Freeform 23"/>
              <p:cNvSpPr>
                <a:spLocks noEditPoints="1"/>
              </p:cNvSpPr>
              <p:nvPr/>
            </p:nvSpPr>
            <p:spPr bwMode="auto">
              <a:xfrm>
                <a:off x="852" y="2434"/>
                <a:ext cx="381" cy="168"/>
              </a:xfrm>
              <a:custGeom>
                <a:avLst/>
                <a:gdLst>
                  <a:gd name="T0" fmla="*/ 183 w 314"/>
                  <a:gd name="T1" fmla="*/ 1 h 138"/>
                  <a:gd name="T2" fmla="*/ 288 w 314"/>
                  <a:gd name="T3" fmla="*/ 62 h 138"/>
                  <a:gd name="T4" fmla="*/ 222 w 314"/>
                  <a:gd name="T5" fmla="*/ 112 h 138"/>
                  <a:gd name="T6" fmla="*/ 124 w 314"/>
                  <a:gd name="T7" fmla="*/ 138 h 138"/>
                  <a:gd name="T8" fmla="*/ 0 w 314"/>
                  <a:gd name="T9" fmla="*/ 96 h 138"/>
                  <a:gd name="T10" fmla="*/ 37 w 314"/>
                  <a:gd name="T11" fmla="*/ 37 h 138"/>
                  <a:gd name="T12" fmla="*/ 99 w 314"/>
                  <a:gd name="T13" fmla="*/ 5 h 138"/>
                  <a:gd name="T14" fmla="*/ 119 w 314"/>
                  <a:gd name="T15" fmla="*/ 17 h 138"/>
                  <a:gd name="T16" fmla="*/ 176 w 314"/>
                  <a:gd name="T17" fmla="*/ 7 h 138"/>
                  <a:gd name="T18" fmla="*/ 178 w 314"/>
                  <a:gd name="T19" fmla="*/ 1 h 138"/>
                  <a:gd name="T20" fmla="*/ 192 w 314"/>
                  <a:gd name="T21" fmla="*/ 10 h 138"/>
                  <a:gd name="T22" fmla="*/ 183 w 314"/>
                  <a:gd name="T23" fmla="*/ 1 h 138"/>
                  <a:gd name="T24" fmla="*/ 99 w 314"/>
                  <a:gd name="T25" fmla="*/ 110 h 138"/>
                  <a:gd name="T26" fmla="*/ 126 w 314"/>
                  <a:gd name="T27" fmla="*/ 117 h 138"/>
                  <a:gd name="T28" fmla="*/ 131 w 314"/>
                  <a:gd name="T29" fmla="*/ 99 h 138"/>
                  <a:gd name="T30" fmla="*/ 131 w 314"/>
                  <a:gd name="T31" fmla="*/ 119 h 138"/>
                  <a:gd name="T32" fmla="*/ 144 w 314"/>
                  <a:gd name="T33" fmla="*/ 110 h 138"/>
                  <a:gd name="T34" fmla="*/ 178 w 314"/>
                  <a:gd name="T35" fmla="*/ 110 h 138"/>
                  <a:gd name="T36" fmla="*/ 183 w 314"/>
                  <a:gd name="T37" fmla="*/ 101 h 138"/>
                  <a:gd name="T38" fmla="*/ 192 w 314"/>
                  <a:gd name="T39" fmla="*/ 104 h 138"/>
                  <a:gd name="T40" fmla="*/ 197 w 314"/>
                  <a:gd name="T41" fmla="*/ 90 h 138"/>
                  <a:gd name="T42" fmla="*/ 195 w 314"/>
                  <a:gd name="T43" fmla="*/ 101 h 138"/>
                  <a:gd name="T44" fmla="*/ 201 w 314"/>
                  <a:gd name="T45" fmla="*/ 76 h 138"/>
                  <a:gd name="T46" fmla="*/ 188 w 314"/>
                  <a:gd name="T47" fmla="*/ 76 h 138"/>
                  <a:gd name="T48" fmla="*/ 187 w 314"/>
                  <a:gd name="T49" fmla="*/ 81 h 138"/>
                  <a:gd name="T50" fmla="*/ 167 w 314"/>
                  <a:gd name="T51" fmla="*/ 80 h 138"/>
                  <a:gd name="T52" fmla="*/ 167 w 314"/>
                  <a:gd name="T53" fmla="*/ 90 h 138"/>
                  <a:gd name="T54" fmla="*/ 163 w 314"/>
                  <a:gd name="T55" fmla="*/ 81 h 138"/>
                  <a:gd name="T56" fmla="*/ 147 w 314"/>
                  <a:gd name="T57" fmla="*/ 88 h 138"/>
                  <a:gd name="T58" fmla="*/ 130 w 314"/>
                  <a:gd name="T59" fmla="*/ 94 h 138"/>
                  <a:gd name="T60" fmla="*/ 130 w 314"/>
                  <a:gd name="T61" fmla="*/ 87 h 138"/>
                  <a:gd name="T62" fmla="*/ 110 w 314"/>
                  <a:gd name="T63" fmla="*/ 97 h 138"/>
                  <a:gd name="T64" fmla="*/ 108 w 314"/>
                  <a:gd name="T65" fmla="*/ 88 h 138"/>
                  <a:gd name="T66" fmla="*/ 99 w 314"/>
                  <a:gd name="T67" fmla="*/ 97 h 138"/>
                  <a:gd name="T68" fmla="*/ 101 w 314"/>
                  <a:gd name="T69" fmla="*/ 88 h 138"/>
                  <a:gd name="T70" fmla="*/ 94 w 314"/>
                  <a:gd name="T71" fmla="*/ 94 h 138"/>
                  <a:gd name="T72" fmla="*/ 92 w 314"/>
                  <a:gd name="T73" fmla="*/ 94 h 138"/>
                  <a:gd name="T74" fmla="*/ 99 w 314"/>
                  <a:gd name="T75" fmla="*/ 1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4" h="138">
                    <a:moveTo>
                      <a:pt x="183" y="1"/>
                    </a:moveTo>
                    <a:cubicBezTo>
                      <a:pt x="218" y="2"/>
                      <a:pt x="267" y="37"/>
                      <a:pt x="288" y="62"/>
                    </a:cubicBezTo>
                    <a:cubicBezTo>
                      <a:pt x="314" y="92"/>
                      <a:pt x="247" y="104"/>
                      <a:pt x="222" y="112"/>
                    </a:cubicBezTo>
                    <a:cubicBezTo>
                      <a:pt x="188" y="122"/>
                      <a:pt x="151" y="137"/>
                      <a:pt x="124" y="138"/>
                    </a:cubicBezTo>
                    <a:cubicBezTo>
                      <a:pt x="84" y="123"/>
                      <a:pt x="16" y="129"/>
                      <a:pt x="0" y="96"/>
                    </a:cubicBezTo>
                    <a:cubicBezTo>
                      <a:pt x="13" y="77"/>
                      <a:pt x="20" y="56"/>
                      <a:pt x="37" y="37"/>
                    </a:cubicBezTo>
                    <a:cubicBezTo>
                      <a:pt x="49" y="23"/>
                      <a:pt x="76" y="0"/>
                      <a:pt x="99" y="5"/>
                    </a:cubicBezTo>
                    <a:cubicBezTo>
                      <a:pt x="107" y="6"/>
                      <a:pt x="112" y="16"/>
                      <a:pt x="119" y="17"/>
                    </a:cubicBezTo>
                    <a:cubicBezTo>
                      <a:pt x="141" y="22"/>
                      <a:pt x="152" y="0"/>
                      <a:pt x="176" y="7"/>
                    </a:cubicBezTo>
                    <a:cubicBezTo>
                      <a:pt x="178" y="6"/>
                      <a:pt x="177" y="3"/>
                      <a:pt x="178" y="1"/>
                    </a:cubicBezTo>
                    <a:cubicBezTo>
                      <a:pt x="180" y="6"/>
                      <a:pt x="188" y="6"/>
                      <a:pt x="192" y="10"/>
                    </a:cubicBezTo>
                    <a:cubicBezTo>
                      <a:pt x="195" y="1"/>
                      <a:pt x="186" y="4"/>
                      <a:pt x="183" y="1"/>
                    </a:cubicBezTo>
                    <a:close/>
                    <a:moveTo>
                      <a:pt x="99" y="110"/>
                    </a:moveTo>
                    <a:cubicBezTo>
                      <a:pt x="112" y="108"/>
                      <a:pt x="117" y="114"/>
                      <a:pt x="126" y="117"/>
                    </a:cubicBezTo>
                    <a:cubicBezTo>
                      <a:pt x="126" y="110"/>
                      <a:pt x="125" y="100"/>
                      <a:pt x="131" y="99"/>
                    </a:cubicBezTo>
                    <a:cubicBezTo>
                      <a:pt x="128" y="103"/>
                      <a:pt x="130" y="114"/>
                      <a:pt x="131" y="119"/>
                    </a:cubicBezTo>
                    <a:cubicBezTo>
                      <a:pt x="139" y="116"/>
                      <a:pt x="140" y="117"/>
                      <a:pt x="144" y="110"/>
                    </a:cubicBezTo>
                    <a:cubicBezTo>
                      <a:pt x="150" y="116"/>
                      <a:pt x="166" y="107"/>
                      <a:pt x="178" y="110"/>
                    </a:cubicBezTo>
                    <a:cubicBezTo>
                      <a:pt x="177" y="104"/>
                      <a:pt x="180" y="103"/>
                      <a:pt x="183" y="101"/>
                    </a:cubicBezTo>
                    <a:cubicBezTo>
                      <a:pt x="185" y="110"/>
                      <a:pt x="190" y="92"/>
                      <a:pt x="192" y="104"/>
                    </a:cubicBezTo>
                    <a:cubicBezTo>
                      <a:pt x="192" y="98"/>
                      <a:pt x="191" y="91"/>
                      <a:pt x="197" y="90"/>
                    </a:cubicBezTo>
                    <a:cubicBezTo>
                      <a:pt x="197" y="94"/>
                      <a:pt x="194" y="95"/>
                      <a:pt x="195" y="101"/>
                    </a:cubicBezTo>
                    <a:cubicBezTo>
                      <a:pt x="203" y="98"/>
                      <a:pt x="203" y="83"/>
                      <a:pt x="201" y="76"/>
                    </a:cubicBezTo>
                    <a:cubicBezTo>
                      <a:pt x="196" y="78"/>
                      <a:pt x="193" y="78"/>
                      <a:pt x="188" y="76"/>
                    </a:cubicBezTo>
                    <a:cubicBezTo>
                      <a:pt x="188" y="78"/>
                      <a:pt x="189" y="81"/>
                      <a:pt x="187" y="81"/>
                    </a:cubicBezTo>
                    <a:cubicBezTo>
                      <a:pt x="183" y="75"/>
                      <a:pt x="171" y="80"/>
                      <a:pt x="167" y="80"/>
                    </a:cubicBezTo>
                    <a:cubicBezTo>
                      <a:pt x="165" y="84"/>
                      <a:pt x="172" y="88"/>
                      <a:pt x="167" y="90"/>
                    </a:cubicBezTo>
                    <a:cubicBezTo>
                      <a:pt x="167" y="86"/>
                      <a:pt x="164" y="85"/>
                      <a:pt x="163" y="81"/>
                    </a:cubicBezTo>
                    <a:cubicBezTo>
                      <a:pt x="155" y="81"/>
                      <a:pt x="150" y="83"/>
                      <a:pt x="147" y="88"/>
                    </a:cubicBezTo>
                    <a:cubicBezTo>
                      <a:pt x="142" y="81"/>
                      <a:pt x="133" y="89"/>
                      <a:pt x="130" y="94"/>
                    </a:cubicBezTo>
                    <a:cubicBezTo>
                      <a:pt x="130" y="91"/>
                      <a:pt x="130" y="89"/>
                      <a:pt x="130" y="87"/>
                    </a:cubicBezTo>
                    <a:cubicBezTo>
                      <a:pt x="117" y="87"/>
                      <a:pt x="116" y="89"/>
                      <a:pt x="110" y="97"/>
                    </a:cubicBezTo>
                    <a:cubicBezTo>
                      <a:pt x="109" y="95"/>
                      <a:pt x="112" y="88"/>
                      <a:pt x="108" y="88"/>
                    </a:cubicBezTo>
                    <a:cubicBezTo>
                      <a:pt x="105" y="91"/>
                      <a:pt x="104" y="96"/>
                      <a:pt x="99" y="97"/>
                    </a:cubicBezTo>
                    <a:cubicBezTo>
                      <a:pt x="98" y="92"/>
                      <a:pt x="105" y="93"/>
                      <a:pt x="101" y="88"/>
                    </a:cubicBezTo>
                    <a:cubicBezTo>
                      <a:pt x="94" y="86"/>
                      <a:pt x="101" y="96"/>
                      <a:pt x="94" y="94"/>
                    </a:cubicBezTo>
                    <a:cubicBezTo>
                      <a:pt x="94" y="93"/>
                      <a:pt x="93" y="92"/>
                      <a:pt x="92" y="94"/>
                    </a:cubicBezTo>
                    <a:cubicBezTo>
                      <a:pt x="92" y="101"/>
                      <a:pt x="102" y="105"/>
                      <a:pt x="9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2" name="Freeform 24"/>
              <p:cNvSpPr>
                <a:spLocks/>
              </p:cNvSpPr>
              <p:nvPr/>
            </p:nvSpPr>
            <p:spPr bwMode="auto">
              <a:xfrm>
                <a:off x="974" y="1298"/>
                <a:ext cx="100" cy="40"/>
              </a:xfrm>
              <a:custGeom>
                <a:avLst/>
                <a:gdLst>
                  <a:gd name="T0" fmla="*/ 61 w 82"/>
                  <a:gd name="T1" fmla="*/ 18 h 33"/>
                  <a:gd name="T2" fmla="*/ 52 w 82"/>
                  <a:gd name="T3" fmla="*/ 10 h 33"/>
                  <a:gd name="T4" fmla="*/ 82 w 82"/>
                  <a:gd name="T5" fmla="*/ 28 h 33"/>
                  <a:gd name="T6" fmla="*/ 64 w 82"/>
                  <a:gd name="T7" fmla="*/ 21 h 33"/>
                  <a:gd name="T8" fmla="*/ 57 w 82"/>
                  <a:gd name="T9" fmla="*/ 26 h 33"/>
                  <a:gd name="T10" fmla="*/ 43 w 82"/>
                  <a:gd name="T11" fmla="*/ 10 h 33"/>
                  <a:gd name="T12" fmla="*/ 0 w 82"/>
                  <a:gd name="T13" fmla="*/ 10 h 33"/>
                  <a:gd name="T14" fmla="*/ 61 w 82"/>
                  <a:gd name="T15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33">
                    <a:moveTo>
                      <a:pt x="61" y="18"/>
                    </a:moveTo>
                    <a:cubicBezTo>
                      <a:pt x="61" y="12"/>
                      <a:pt x="56" y="11"/>
                      <a:pt x="52" y="10"/>
                    </a:cubicBezTo>
                    <a:cubicBezTo>
                      <a:pt x="66" y="6"/>
                      <a:pt x="78" y="18"/>
                      <a:pt x="82" y="28"/>
                    </a:cubicBezTo>
                    <a:cubicBezTo>
                      <a:pt x="75" y="33"/>
                      <a:pt x="69" y="24"/>
                      <a:pt x="64" y="21"/>
                    </a:cubicBezTo>
                    <a:cubicBezTo>
                      <a:pt x="62" y="23"/>
                      <a:pt x="61" y="26"/>
                      <a:pt x="57" y="26"/>
                    </a:cubicBezTo>
                    <a:cubicBezTo>
                      <a:pt x="49" y="25"/>
                      <a:pt x="46" y="17"/>
                      <a:pt x="43" y="10"/>
                    </a:cubicBezTo>
                    <a:cubicBezTo>
                      <a:pt x="25" y="10"/>
                      <a:pt x="15" y="12"/>
                      <a:pt x="0" y="10"/>
                    </a:cubicBezTo>
                    <a:cubicBezTo>
                      <a:pt x="17" y="0"/>
                      <a:pt x="47" y="3"/>
                      <a:pt x="6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3" name="Freeform 25"/>
              <p:cNvSpPr>
                <a:spLocks/>
              </p:cNvSpPr>
              <p:nvPr/>
            </p:nvSpPr>
            <p:spPr bwMode="auto">
              <a:xfrm>
                <a:off x="1112" y="1302"/>
                <a:ext cx="14" cy="13"/>
              </a:xfrm>
              <a:custGeom>
                <a:avLst/>
                <a:gdLst>
                  <a:gd name="T0" fmla="*/ 1 w 12"/>
                  <a:gd name="T1" fmla="*/ 0 h 11"/>
                  <a:gd name="T2" fmla="*/ 12 w 12"/>
                  <a:gd name="T3" fmla="*/ 11 h 11"/>
                  <a:gd name="T4" fmla="*/ 1 w 1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1">
                    <a:moveTo>
                      <a:pt x="1" y="0"/>
                    </a:moveTo>
                    <a:cubicBezTo>
                      <a:pt x="6" y="2"/>
                      <a:pt x="12" y="4"/>
                      <a:pt x="12" y="11"/>
                    </a:cubicBezTo>
                    <a:cubicBezTo>
                      <a:pt x="8" y="7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4" name="Freeform 26"/>
              <p:cNvSpPr>
                <a:spLocks/>
              </p:cNvSpPr>
              <p:nvPr/>
            </p:nvSpPr>
            <p:spPr bwMode="auto">
              <a:xfrm>
                <a:off x="787" y="1307"/>
                <a:ext cx="73" cy="75"/>
              </a:xfrm>
              <a:custGeom>
                <a:avLst/>
                <a:gdLst>
                  <a:gd name="T0" fmla="*/ 60 w 60"/>
                  <a:gd name="T1" fmla="*/ 0 h 62"/>
                  <a:gd name="T2" fmla="*/ 3 w 60"/>
                  <a:gd name="T3" fmla="*/ 62 h 62"/>
                  <a:gd name="T4" fmla="*/ 60 w 60"/>
                  <a:gd name="T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62">
                    <a:moveTo>
                      <a:pt x="60" y="0"/>
                    </a:moveTo>
                    <a:cubicBezTo>
                      <a:pt x="40" y="19"/>
                      <a:pt x="9" y="28"/>
                      <a:pt x="3" y="62"/>
                    </a:cubicBezTo>
                    <a:cubicBezTo>
                      <a:pt x="0" y="34"/>
                      <a:pt x="31" y="8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5" name="Freeform 27"/>
              <p:cNvSpPr>
                <a:spLocks/>
              </p:cNvSpPr>
              <p:nvPr/>
            </p:nvSpPr>
            <p:spPr bwMode="auto">
              <a:xfrm>
                <a:off x="933" y="1313"/>
                <a:ext cx="22" cy="11"/>
              </a:xfrm>
              <a:custGeom>
                <a:avLst/>
                <a:gdLst>
                  <a:gd name="T0" fmla="*/ 13 w 18"/>
                  <a:gd name="T1" fmla="*/ 0 h 9"/>
                  <a:gd name="T2" fmla="*/ 0 w 18"/>
                  <a:gd name="T3" fmla="*/ 7 h 9"/>
                  <a:gd name="T4" fmla="*/ 13 w 18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9">
                    <a:moveTo>
                      <a:pt x="13" y="0"/>
                    </a:moveTo>
                    <a:cubicBezTo>
                      <a:pt x="18" y="5"/>
                      <a:pt x="8" y="9"/>
                      <a:pt x="0" y="7"/>
                    </a:cubicBezTo>
                    <a:cubicBezTo>
                      <a:pt x="1" y="1"/>
                      <a:pt x="12" y="6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6" name="Freeform 28"/>
              <p:cNvSpPr>
                <a:spLocks/>
              </p:cNvSpPr>
              <p:nvPr/>
            </p:nvSpPr>
            <p:spPr bwMode="auto">
              <a:xfrm>
                <a:off x="877" y="1322"/>
                <a:ext cx="17" cy="17"/>
              </a:xfrm>
              <a:custGeom>
                <a:avLst/>
                <a:gdLst>
                  <a:gd name="T0" fmla="*/ 12 w 14"/>
                  <a:gd name="T1" fmla="*/ 1 h 14"/>
                  <a:gd name="T2" fmla="*/ 7 w 14"/>
                  <a:gd name="T3" fmla="*/ 14 h 14"/>
                  <a:gd name="T4" fmla="*/ 0 w 14"/>
                  <a:gd name="T5" fmla="*/ 5 h 14"/>
                  <a:gd name="T6" fmla="*/ 12 w 14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2" y="1"/>
                    </a:moveTo>
                    <a:cubicBezTo>
                      <a:pt x="14" y="9"/>
                      <a:pt x="6" y="7"/>
                      <a:pt x="7" y="14"/>
                    </a:cubicBezTo>
                    <a:cubicBezTo>
                      <a:pt x="2" y="13"/>
                      <a:pt x="0" y="11"/>
                      <a:pt x="0" y="5"/>
                    </a:cubicBezTo>
                    <a:cubicBezTo>
                      <a:pt x="4" y="3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7" name="Freeform 29"/>
              <p:cNvSpPr>
                <a:spLocks/>
              </p:cNvSpPr>
              <p:nvPr/>
            </p:nvSpPr>
            <p:spPr bwMode="auto">
              <a:xfrm>
                <a:off x="923" y="1326"/>
                <a:ext cx="28" cy="29"/>
              </a:xfrm>
              <a:custGeom>
                <a:avLst/>
                <a:gdLst>
                  <a:gd name="T0" fmla="*/ 17 w 23"/>
                  <a:gd name="T1" fmla="*/ 0 h 24"/>
                  <a:gd name="T2" fmla="*/ 17 w 23"/>
                  <a:gd name="T3" fmla="*/ 21 h 24"/>
                  <a:gd name="T4" fmla="*/ 10 w 23"/>
                  <a:gd name="T5" fmla="*/ 16 h 24"/>
                  <a:gd name="T6" fmla="*/ 17 w 2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4">
                    <a:moveTo>
                      <a:pt x="17" y="0"/>
                    </a:moveTo>
                    <a:cubicBezTo>
                      <a:pt x="23" y="4"/>
                      <a:pt x="17" y="18"/>
                      <a:pt x="17" y="21"/>
                    </a:cubicBezTo>
                    <a:cubicBezTo>
                      <a:pt x="11" y="24"/>
                      <a:pt x="12" y="6"/>
                      <a:pt x="10" y="16"/>
                    </a:cubicBezTo>
                    <a:cubicBezTo>
                      <a:pt x="0" y="10"/>
                      <a:pt x="17" y="7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8" name="Freeform 30"/>
              <p:cNvSpPr>
                <a:spLocks/>
              </p:cNvSpPr>
              <p:nvPr/>
            </p:nvSpPr>
            <p:spPr bwMode="auto">
              <a:xfrm>
                <a:off x="1042" y="1339"/>
                <a:ext cx="17" cy="17"/>
              </a:xfrm>
              <a:custGeom>
                <a:avLst/>
                <a:gdLst>
                  <a:gd name="T0" fmla="*/ 1 w 14"/>
                  <a:gd name="T1" fmla="*/ 0 h 14"/>
                  <a:gd name="T2" fmla="*/ 14 w 14"/>
                  <a:gd name="T3" fmla="*/ 14 h 14"/>
                  <a:gd name="T4" fmla="*/ 5 w 14"/>
                  <a:gd name="T5" fmla="*/ 14 h 14"/>
                  <a:gd name="T6" fmla="*/ 1 w 14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4">
                    <a:moveTo>
                      <a:pt x="1" y="0"/>
                    </a:moveTo>
                    <a:cubicBezTo>
                      <a:pt x="7" y="3"/>
                      <a:pt x="11" y="7"/>
                      <a:pt x="14" y="14"/>
                    </a:cubicBezTo>
                    <a:cubicBezTo>
                      <a:pt x="11" y="14"/>
                      <a:pt x="8" y="14"/>
                      <a:pt x="5" y="14"/>
                    </a:cubicBezTo>
                    <a:cubicBezTo>
                      <a:pt x="6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9" name="Freeform 31"/>
              <p:cNvSpPr>
                <a:spLocks/>
              </p:cNvSpPr>
              <p:nvPr/>
            </p:nvSpPr>
            <p:spPr bwMode="auto">
              <a:xfrm>
                <a:off x="1068" y="1333"/>
                <a:ext cx="19" cy="26"/>
              </a:xfrm>
              <a:custGeom>
                <a:avLst/>
                <a:gdLst>
                  <a:gd name="T0" fmla="*/ 10 w 16"/>
                  <a:gd name="T1" fmla="*/ 6 h 21"/>
                  <a:gd name="T2" fmla="*/ 10 w 16"/>
                  <a:gd name="T3" fmla="*/ 21 h 21"/>
                  <a:gd name="T4" fmla="*/ 10 w 16"/>
                  <a:gd name="T5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1">
                    <a:moveTo>
                      <a:pt x="10" y="6"/>
                    </a:moveTo>
                    <a:cubicBezTo>
                      <a:pt x="2" y="12"/>
                      <a:pt x="16" y="14"/>
                      <a:pt x="10" y="21"/>
                    </a:cubicBezTo>
                    <a:cubicBezTo>
                      <a:pt x="4" y="19"/>
                      <a:pt x="0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0" name="Freeform 32"/>
              <p:cNvSpPr>
                <a:spLocks/>
              </p:cNvSpPr>
              <p:nvPr/>
            </p:nvSpPr>
            <p:spPr bwMode="auto">
              <a:xfrm>
                <a:off x="813" y="1341"/>
                <a:ext cx="58" cy="48"/>
              </a:xfrm>
              <a:custGeom>
                <a:avLst/>
                <a:gdLst>
                  <a:gd name="T0" fmla="*/ 35 w 48"/>
                  <a:gd name="T1" fmla="*/ 0 h 40"/>
                  <a:gd name="T2" fmla="*/ 48 w 48"/>
                  <a:gd name="T3" fmla="*/ 11 h 40"/>
                  <a:gd name="T4" fmla="*/ 16 w 48"/>
                  <a:gd name="T5" fmla="*/ 36 h 40"/>
                  <a:gd name="T6" fmla="*/ 0 w 48"/>
                  <a:gd name="T7" fmla="*/ 36 h 40"/>
                  <a:gd name="T8" fmla="*/ 23 w 48"/>
                  <a:gd name="T9" fmla="*/ 20 h 40"/>
                  <a:gd name="T10" fmla="*/ 33 w 48"/>
                  <a:gd name="T11" fmla="*/ 11 h 40"/>
                  <a:gd name="T12" fmla="*/ 35 w 48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40">
                    <a:moveTo>
                      <a:pt x="35" y="0"/>
                    </a:moveTo>
                    <a:cubicBezTo>
                      <a:pt x="43" y="1"/>
                      <a:pt x="41" y="10"/>
                      <a:pt x="48" y="11"/>
                    </a:cubicBezTo>
                    <a:cubicBezTo>
                      <a:pt x="41" y="23"/>
                      <a:pt x="20" y="22"/>
                      <a:pt x="16" y="36"/>
                    </a:cubicBezTo>
                    <a:cubicBezTo>
                      <a:pt x="8" y="34"/>
                      <a:pt x="4" y="40"/>
                      <a:pt x="0" y="36"/>
                    </a:cubicBezTo>
                    <a:cubicBezTo>
                      <a:pt x="3" y="26"/>
                      <a:pt x="13" y="12"/>
                      <a:pt x="23" y="20"/>
                    </a:cubicBezTo>
                    <a:cubicBezTo>
                      <a:pt x="27" y="18"/>
                      <a:pt x="27" y="11"/>
                      <a:pt x="33" y="11"/>
                    </a:cubicBezTo>
                    <a:cubicBezTo>
                      <a:pt x="33" y="5"/>
                      <a:pt x="30" y="3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1" name="Freeform 33"/>
              <p:cNvSpPr>
                <a:spLocks/>
              </p:cNvSpPr>
              <p:nvPr/>
            </p:nvSpPr>
            <p:spPr bwMode="auto">
              <a:xfrm>
                <a:off x="1034" y="1341"/>
                <a:ext cx="7" cy="15"/>
              </a:xfrm>
              <a:custGeom>
                <a:avLst/>
                <a:gdLst>
                  <a:gd name="T0" fmla="*/ 1 w 6"/>
                  <a:gd name="T1" fmla="*/ 0 h 13"/>
                  <a:gd name="T2" fmla="*/ 6 w 6"/>
                  <a:gd name="T3" fmla="*/ 13 h 13"/>
                  <a:gd name="T4" fmla="*/ 1 w 6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3">
                    <a:moveTo>
                      <a:pt x="1" y="0"/>
                    </a:moveTo>
                    <a:cubicBezTo>
                      <a:pt x="4" y="3"/>
                      <a:pt x="6" y="7"/>
                      <a:pt x="6" y="13"/>
                    </a:cubicBezTo>
                    <a:cubicBezTo>
                      <a:pt x="0" y="13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2" name="Freeform 34"/>
              <p:cNvSpPr>
                <a:spLocks/>
              </p:cNvSpPr>
              <p:nvPr/>
            </p:nvSpPr>
            <p:spPr bwMode="auto">
              <a:xfrm>
                <a:off x="1063" y="1343"/>
                <a:ext cx="7" cy="13"/>
              </a:xfrm>
              <a:custGeom>
                <a:avLst/>
                <a:gdLst>
                  <a:gd name="T0" fmla="*/ 0 w 6"/>
                  <a:gd name="T1" fmla="*/ 0 h 11"/>
                  <a:gd name="T2" fmla="*/ 5 w 6"/>
                  <a:gd name="T3" fmla="*/ 11 h 11"/>
                  <a:gd name="T4" fmla="*/ 0 w 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cubicBezTo>
                      <a:pt x="4" y="2"/>
                      <a:pt x="6" y="5"/>
                      <a:pt x="5" y="11"/>
                    </a:cubicBezTo>
                    <a:cubicBezTo>
                      <a:pt x="2" y="9"/>
                      <a:pt x="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3" name="Freeform 35"/>
              <p:cNvSpPr>
                <a:spLocks/>
              </p:cNvSpPr>
              <p:nvPr/>
            </p:nvSpPr>
            <p:spPr bwMode="auto">
              <a:xfrm>
                <a:off x="876" y="1378"/>
                <a:ext cx="18" cy="26"/>
              </a:xfrm>
              <a:custGeom>
                <a:avLst/>
                <a:gdLst>
                  <a:gd name="T0" fmla="*/ 6 w 15"/>
                  <a:gd name="T1" fmla="*/ 0 h 21"/>
                  <a:gd name="T2" fmla="*/ 13 w 15"/>
                  <a:gd name="T3" fmla="*/ 21 h 21"/>
                  <a:gd name="T4" fmla="*/ 6 w 15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1">
                    <a:moveTo>
                      <a:pt x="6" y="0"/>
                    </a:moveTo>
                    <a:cubicBezTo>
                      <a:pt x="15" y="0"/>
                      <a:pt x="13" y="12"/>
                      <a:pt x="13" y="21"/>
                    </a:cubicBezTo>
                    <a:cubicBezTo>
                      <a:pt x="7" y="17"/>
                      <a:pt x="0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4" name="Freeform 36"/>
              <p:cNvSpPr>
                <a:spLocks/>
              </p:cNvSpPr>
              <p:nvPr/>
            </p:nvSpPr>
            <p:spPr bwMode="auto">
              <a:xfrm>
                <a:off x="774" y="1387"/>
                <a:ext cx="39" cy="61"/>
              </a:xfrm>
              <a:custGeom>
                <a:avLst/>
                <a:gdLst>
                  <a:gd name="T0" fmla="*/ 32 w 32"/>
                  <a:gd name="T1" fmla="*/ 0 h 50"/>
                  <a:gd name="T2" fmla="*/ 0 w 32"/>
                  <a:gd name="T3" fmla="*/ 50 h 50"/>
                  <a:gd name="T4" fmla="*/ 32 w 32"/>
                  <a:gd name="T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50">
                    <a:moveTo>
                      <a:pt x="32" y="0"/>
                    </a:moveTo>
                    <a:cubicBezTo>
                      <a:pt x="22" y="16"/>
                      <a:pt x="15" y="36"/>
                      <a:pt x="0" y="50"/>
                    </a:cubicBezTo>
                    <a:cubicBezTo>
                      <a:pt x="4" y="27"/>
                      <a:pt x="15" y="11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5" name="Freeform 37"/>
              <p:cNvSpPr>
                <a:spLocks/>
              </p:cNvSpPr>
              <p:nvPr/>
            </p:nvSpPr>
            <p:spPr bwMode="auto">
              <a:xfrm>
                <a:off x="895" y="1389"/>
                <a:ext cx="15" cy="23"/>
              </a:xfrm>
              <a:custGeom>
                <a:avLst/>
                <a:gdLst>
                  <a:gd name="T0" fmla="*/ 1 w 12"/>
                  <a:gd name="T1" fmla="*/ 0 h 19"/>
                  <a:gd name="T2" fmla="*/ 12 w 12"/>
                  <a:gd name="T3" fmla="*/ 7 h 19"/>
                  <a:gd name="T4" fmla="*/ 5 w 12"/>
                  <a:gd name="T5" fmla="*/ 19 h 19"/>
                  <a:gd name="T6" fmla="*/ 1 w 1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9">
                    <a:moveTo>
                      <a:pt x="1" y="0"/>
                    </a:moveTo>
                    <a:cubicBezTo>
                      <a:pt x="7" y="1"/>
                      <a:pt x="3" y="12"/>
                      <a:pt x="12" y="7"/>
                    </a:cubicBezTo>
                    <a:cubicBezTo>
                      <a:pt x="12" y="14"/>
                      <a:pt x="11" y="19"/>
                      <a:pt x="5" y="19"/>
                    </a:cubicBezTo>
                    <a:cubicBezTo>
                      <a:pt x="2" y="14"/>
                      <a:pt x="0" y="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6" name="Freeform 38"/>
              <p:cNvSpPr>
                <a:spLocks/>
              </p:cNvSpPr>
              <p:nvPr/>
            </p:nvSpPr>
            <p:spPr bwMode="auto">
              <a:xfrm>
                <a:off x="1381" y="1390"/>
                <a:ext cx="35" cy="25"/>
              </a:xfrm>
              <a:custGeom>
                <a:avLst/>
                <a:gdLst>
                  <a:gd name="T0" fmla="*/ 14 w 29"/>
                  <a:gd name="T1" fmla="*/ 0 h 20"/>
                  <a:gd name="T2" fmla="*/ 26 w 29"/>
                  <a:gd name="T3" fmla="*/ 6 h 20"/>
                  <a:gd name="T4" fmla="*/ 23 w 29"/>
                  <a:gd name="T5" fmla="*/ 18 h 20"/>
                  <a:gd name="T6" fmla="*/ 7 w 29"/>
                  <a:gd name="T7" fmla="*/ 20 h 20"/>
                  <a:gd name="T8" fmla="*/ 0 w 29"/>
                  <a:gd name="T9" fmla="*/ 16 h 20"/>
                  <a:gd name="T10" fmla="*/ 14 w 2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4" y="0"/>
                    </a:moveTo>
                    <a:cubicBezTo>
                      <a:pt x="17" y="3"/>
                      <a:pt x="19" y="7"/>
                      <a:pt x="26" y="6"/>
                    </a:cubicBezTo>
                    <a:cubicBezTo>
                      <a:pt x="29" y="12"/>
                      <a:pt x="26" y="14"/>
                      <a:pt x="23" y="18"/>
                    </a:cubicBezTo>
                    <a:cubicBezTo>
                      <a:pt x="15" y="16"/>
                      <a:pt x="13" y="17"/>
                      <a:pt x="7" y="20"/>
                    </a:cubicBezTo>
                    <a:cubicBezTo>
                      <a:pt x="6" y="17"/>
                      <a:pt x="4" y="16"/>
                      <a:pt x="0" y="16"/>
                    </a:cubicBezTo>
                    <a:cubicBezTo>
                      <a:pt x="1" y="7"/>
                      <a:pt x="10" y="7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7" name="Freeform 39"/>
              <p:cNvSpPr>
                <a:spLocks/>
              </p:cNvSpPr>
              <p:nvPr/>
            </p:nvSpPr>
            <p:spPr bwMode="auto">
              <a:xfrm>
                <a:off x="1396" y="1418"/>
                <a:ext cx="49" cy="60"/>
              </a:xfrm>
              <a:custGeom>
                <a:avLst/>
                <a:gdLst>
                  <a:gd name="T0" fmla="*/ 16 w 41"/>
                  <a:gd name="T1" fmla="*/ 0 h 49"/>
                  <a:gd name="T2" fmla="*/ 23 w 41"/>
                  <a:gd name="T3" fmla="*/ 18 h 49"/>
                  <a:gd name="T4" fmla="*/ 25 w 41"/>
                  <a:gd name="T5" fmla="*/ 2 h 49"/>
                  <a:gd name="T6" fmla="*/ 25 w 41"/>
                  <a:gd name="T7" fmla="*/ 38 h 49"/>
                  <a:gd name="T8" fmla="*/ 0 w 41"/>
                  <a:gd name="T9" fmla="*/ 40 h 49"/>
                  <a:gd name="T10" fmla="*/ 13 w 41"/>
                  <a:gd name="T11" fmla="*/ 38 h 49"/>
                  <a:gd name="T12" fmla="*/ 18 w 41"/>
                  <a:gd name="T13" fmla="*/ 31 h 49"/>
                  <a:gd name="T14" fmla="*/ 13 w 41"/>
                  <a:gd name="T15" fmla="*/ 25 h 49"/>
                  <a:gd name="T16" fmla="*/ 16 w 41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9">
                    <a:moveTo>
                      <a:pt x="16" y="0"/>
                    </a:moveTo>
                    <a:cubicBezTo>
                      <a:pt x="25" y="0"/>
                      <a:pt x="17" y="13"/>
                      <a:pt x="23" y="18"/>
                    </a:cubicBezTo>
                    <a:cubicBezTo>
                      <a:pt x="32" y="14"/>
                      <a:pt x="22" y="5"/>
                      <a:pt x="25" y="2"/>
                    </a:cubicBezTo>
                    <a:cubicBezTo>
                      <a:pt x="41" y="7"/>
                      <a:pt x="27" y="29"/>
                      <a:pt x="25" y="38"/>
                    </a:cubicBezTo>
                    <a:cubicBezTo>
                      <a:pt x="19" y="36"/>
                      <a:pt x="8" y="49"/>
                      <a:pt x="0" y="40"/>
                    </a:cubicBezTo>
                    <a:cubicBezTo>
                      <a:pt x="0" y="34"/>
                      <a:pt x="10" y="35"/>
                      <a:pt x="13" y="38"/>
                    </a:cubicBezTo>
                    <a:cubicBezTo>
                      <a:pt x="15" y="36"/>
                      <a:pt x="18" y="35"/>
                      <a:pt x="18" y="31"/>
                    </a:cubicBezTo>
                    <a:cubicBezTo>
                      <a:pt x="19" y="26"/>
                      <a:pt x="14" y="27"/>
                      <a:pt x="13" y="25"/>
                    </a:cubicBezTo>
                    <a:cubicBezTo>
                      <a:pt x="14" y="16"/>
                      <a:pt x="20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8" name="Freeform 40"/>
              <p:cNvSpPr>
                <a:spLocks/>
              </p:cNvSpPr>
              <p:nvPr/>
            </p:nvSpPr>
            <p:spPr bwMode="auto">
              <a:xfrm>
                <a:off x="899" y="1441"/>
                <a:ext cx="53" cy="21"/>
              </a:xfrm>
              <a:custGeom>
                <a:avLst/>
                <a:gdLst>
                  <a:gd name="T0" fmla="*/ 39 w 44"/>
                  <a:gd name="T1" fmla="*/ 12 h 17"/>
                  <a:gd name="T2" fmla="*/ 7 w 44"/>
                  <a:gd name="T3" fmla="*/ 15 h 17"/>
                  <a:gd name="T4" fmla="*/ 0 w 44"/>
                  <a:gd name="T5" fmla="*/ 6 h 17"/>
                  <a:gd name="T6" fmla="*/ 26 w 44"/>
                  <a:gd name="T7" fmla="*/ 8 h 17"/>
                  <a:gd name="T8" fmla="*/ 39 w 44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7">
                    <a:moveTo>
                      <a:pt x="39" y="12"/>
                    </a:moveTo>
                    <a:cubicBezTo>
                      <a:pt x="27" y="12"/>
                      <a:pt x="21" y="17"/>
                      <a:pt x="7" y="15"/>
                    </a:cubicBezTo>
                    <a:cubicBezTo>
                      <a:pt x="5" y="12"/>
                      <a:pt x="4" y="8"/>
                      <a:pt x="0" y="6"/>
                    </a:cubicBezTo>
                    <a:cubicBezTo>
                      <a:pt x="6" y="4"/>
                      <a:pt x="21" y="8"/>
                      <a:pt x="26" y="8"/>
                    </a:cubicBezTo>
                    <a:cubicBezTo>
                      <a:pt x="25" y="1"/>
                      <a:pt x="44" y="0"/>
                      <a:pt x="39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9" name="Freeform 41"/>
              <p:cNvSpPr>
                <a:spLocks/>
              </p:cNvSpPr>
              <p:nvPr/>
            </p:nvSpPr>
            <p:spPr bwMode="auto">
              <a:xfrm>
                <a:off x="880" y="1449"/>
                <a:ext cx="19" cy="12"/>
              </a:xfrm>
              <a:custGeom>
                <a:avLst/>
                <a:gdLst>
                  <a:gd name="T0" fmla="*/ 16 w 16"/>
                  <a:gd name="T1" fmla="*/ 9 h 10"/>
                  <a:gd name="T2" fmla="*/ 0 w 16"/>
                  <a:gd name="T3" fmla="*/ 4 h 10"/>
                  <a:gd name="T4" fmla="*/ 16 w 16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9"/>
                    </a:moveTo>
                    <a:cubicBezTo>
                      <a:pt x="11" y="7"/>
                      <a:pt x="0" y="10"/>
                      <a:pt x="0" y="4"/>
                    </a:cubicBezTo>
                    <a:cubicBezTo>
                      <a:pt x="5" y="0"/>
                      <a:pt x="16" y="2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0" name="Freeform 42"/>
              <p:cNvSpPr>
                <a:spLocks/>
              </p:cNvSpPr>
              <p:nvPr/>
            </p:nvSpPr>
            <p:spPr bwMode="auto">
              <a:xfrm>
                <a:off x="935" y="1445"/>
                <a:ext cx="92" cy="34"/>
              </a:xfrm>
              <a:custGeom>
                <a:avLst/>
                <a:gdLst>
                  <a:gd name="T0" fmla="*/ 61 w 75"/>
                  <a:gd name="T1" fmla="*/ 11 h 28"/>
                  <a:gd name="T2" fmla="*/ 75 w 75"/>
                  <a:gd name="T3" fmla="*/ 28 h 28"/>
                  <a:gd name="T4" fmla="*/ 0 w 75"/>
                  <a:gd name="T5" fmla="*/ 12 h 28"/>
                  <a:gd name="T6" fmla="*/ 61 w 75"/>
                  <a:gd name="T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28">
                    <a:moveTo>
                      <a:pt x="61" y="11"/>
                    </a:moveTo>
                    <a:cubicBezTo>
                      <a:pt x="67" y="15"/>
                      <a:pt x="69" y="23"/>
                      <a:pt x="75" y="28"/>
                    </a:cubicBezTo>
                    <a:cubicBezTo>
                      <a:pt x="52" y="28"/>
                      <a:pt x="29" y="16"/>
                      <a:pt x="0" y="12"/>
                    </a:cubicBezTo>
                    <a:cubicBezTo>
                      <a:pt x="18" y="0"/>
                      <a:pt x="46" y="20"/>
                      <a:pt x="6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1" name="Freeform 43"/>
              <p:cNvSpPr>
                <a:spLocks/>
              </p:cNvSpPr>
              <p:nvPr/>
            </p:nvSpPr>
            <p:spPr bwMode="auto">
              <a:xfrm>
                <a:off x="1146" y="1507"/>
                <a:ext cx="17" cy="16"/>
              </a:xfrm>
              <a:custGeom>
                <a:avLst/>
                <a:gdLst>
                  <a:gd name="T0" fmla="*/ 9 w 14"/>
                  <a:gd name="T1" fmla="*/ 0 h 13"/>
                  <a:gd name="T2" fmla="*/ 3 w 14"/>
                  <a:gd name="T3" fmla="*/ 13 h 13"/>
                  <a:gd name="T4" fmla="*/ 9 w 14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9" y="0"/>
                    </a:moveTo>
                    <a:cubicBezTo>
                      <a:pt x="14" y="4"/>
                      <a:pt x="4" y="9"/>
                      <a:pt x="3" y="13"/>
                    </a:cubicBezTo>
                    <a:cubicBezTo>
                      <a:pt x="0" y="8"/>
                      <a:pt x="3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2" name="Freeform 44"/>
              <p:cNvSpPr>
                <a:spLocks/>
              </p:cNvSpPr>
              <p:nvPr/>
            </p:nvSpPr>
            <p:spPr bwMode="auto">
              <a:xfrm>
                <a:off x="1160" y="1507"/>
                <a:ext cx="71" cy="57"/>
              </a:xfrm>
              <a:custGeom>
                <a:avLst/>
                <a:gdLst>
                  <a:gd name="T0" fmla="*/ 50 w 58"/>
                  <a:gd name="T1" fmla="*/ 0 h 47"/>
                  <a:gd name="T2" fmla="*/ 0 w 58"/>
                  <a:gd name="T3" fmla="*/ 47 h 47"/>
                  <a:gd name="T4" fmla="*/ 34 w 58"/>
                  <a:gd name="T5" fmla="*/ 13 h 47"/>
                  <a:gd name="T6" fmla="*/ 38 w 58"/>
                  <a:gd name="T7" fmla="*/ 18 h 47"/>
                  <a:gd name="T8" fmla="*/ 50 w 58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47">
                    <a:moveTo>
                      <a:pt x="50" y="0"/>
                    </a:moveTo>
                    <a:cubicBezTo>
                      <a:pt x="58" y="27"/>
                      <a:pt x="23" y="40"/>
                      <a:pt x="0" y="47"/>
                    </a:cubicBezTo>
                    <a:cubicBezTo>
                      <a:pt x="11" y="36"/>
                      <a:pt x="21" y="23"/>
                      <a:pt x="34" y="13"/>
                    </a:cubicBezTo>
                    <a:cubicBezTo>
                      <a:pt x="36" y="14"/>
                      <a:pt x="37" y="16"/>
                      <a:pt x="38" y="18"/>
                    </a:cubicBezTo>
                    <a:cubicBezTo>
                      <a:pt x="44" y="14"/>
                      <a:pt x="45" y="5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3" name="Freeform 45"/>
              <p:cNvSpPr>
                <a:spLocks/>
              </p:cNvSpPr>
              <p:nvPr/>
            </p:nvSpPr>
            <p:spPr bwMode="auto">
              <a:xfrm>
                <a:off x="717" y="1509"/>
                <a:ext cx="44" cy="48"/>
              </a:xfrm>
              <a:custGeom>
                <a:avLst/>
                <a:gdLst>
                  <a:gd name="T0" fmla="*/ 6 w 36"/>
                  <a:gd name="T1" fmla="*/ 39 h 39"/>
                  <a:gd name="T2" fmla="*/ 22 w 36"/>
                  <a:gd name="T3" fmla="*/ 0 h 39"/>
                  <a:gd name="T4" fmla="*/ 6 w 36"/>
                  <a:gd name="T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9">
                    <a:moveTo>
                      <a:pt x="6" y="39"/>
                    </a:moveTo>
                    <a:cubicBezTo>
                      <a:pt x="0" y="23"/>
                      <a:pt x="14" y="9"/>
                      <a:pt x="22" y="0"/>
                    </a:cubicBezTo>
                    <a:cubicBezTo>
                      <a:pt x="36" y="16"/>
                      <a:pt x="8" y="24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4" name="Freeform 46"/>
              <p:cNvSpPr>
                <a:spLocks/>
              </p:cNvSpPr>
              <p:nvPr/>
            </p:nvSpPr>
            <p:spPr bwMode="auto">
              <a:xfrm>
                <a:off x="1160" y="1509"/>
                <a:ext cx="23" cy="33"/>
              </a:xfrm>
              <a:custGeom>
                <a:avLst/>
                <a:gdLst>
                  <a:gd name="T0" fmla="*/ 16 w 19"/>
                  <a:gd name="T1" fmla="*/ 0 h 27"/>
                  <a:gd name="T2" fmla="*/ 0 w 19"/>
                  <a:gd name="T3" fmla="*/ 27 h 27"/>
                  <a:gd name="T4" fmla="*/ 16 w 19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7">
                    <a:moveTo>
                      <a:pt x="16" y="0"/>
                    </a:moveTo>
                    <a:cubicBezTo>
                      <a:pt x="19" y="10"/>
                      <a:pt x="14" y="27"/>
                      <a:pt x="0" y="27"/>
                    </a:cubicBezTo>
                    <a:cubicBezTo>
                      <a:pt x="2" y="14"/>
                      <a:pt x="12" y="1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5" name="Freeform 47"/>
              <p:cNvSpPr>
                <a:spLocks/>
              </p:cNvSpPr>
              <p:nvPr/>
            </p:nvSpPr>
            <p:spPr bwMode="auto">
              <a:xfrm>
                <a:off x="1138" y="1525"/>
                <a:ext cx="18" cy="22"/>
              </a:xfrm>
              <a:custGeom>
                <a:avLst/>
                <a:gdLst>
                  <a:gd name="T0" fmla="*/ 15 w 15"/>
                  <a:gd name="T1" fmla="*/ 0 h 18"/>
                  <a:gd name="T2" fmla="*/ 0 w 15"/>
                  <a:gd name="T3" fmla="*/ 18 h 18"/>
                  <a:gd name="T4" fmla="*/ 15 w 15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8">
                    <a:moveTo>
                      <a:pt x="15" y="0"/>
                    </a:moveTo>
                    <a:cubicBezTo>
                      <a:pt x="12" y="8"/>
                      <a:pt x="9" y="15"/>
                      <a:pt x="0" y="18"/>
                    </a:cubicBezTo>
                    <a:cubicBezTo>
                      <a:pt x="1" y="7"/>
                      <a:pt x="9" y="5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6" name="Freeform 48"/>
              <p:cNvSpPr>
                <a:spLocks/>
              </p:cNvSpPr>
              <p:nvPr/>
            </p:nvSpPr>
            <p:spPr bwMode="auto">
              <a:xfrm>
                <a:off x="739" y="1531"/>
                <a:ext cx="16" cy="26"/>
              </a:xfrm>
              <a:custGeom>
                <a:avLst/>
                <a:gdLst>
                  <a:gd name="T0" fmla="*/ 7 w 13"/>
                  <a:gd name="T1" fmla="*/ 0 h 21"/>
                  <a:gd name="T2" fmla="*/ 13 w 13"/>
                  <a:gd name="T3" fmla="*/ 7 h 21"/>
                  <a:gd name="T4" fmla="*/ 5 w 13"/>
                  <a:gd name="T5" fmla="*/ 21 h 21"/>
                  <a:gd name="T6" fmla="*/ 7 w 13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1">
                    <a:moveTo>
                      <a:pt x="7" y="0"/>
                    </a:moveTo>
                    <a:cubicBezTo>
                      <a:pt x="11" y="1"/>
                      <a:pt x="8" y="8"/>
                      <a:pt x="13" y="7"/>
                    </a:cubicBezTo>
                    <a:cubicBezTo>
                      <a:pt x="10" y="12"/>
                      <a:pt x="8" y="17"/>
                      <a:pt x="5" y="21"/>
                    </a:cubicBezTo>
                    <a:cubicBezTo>
                      <a:pt x="0" y="15"/>
                      <a:pt x="3" y="5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7" name="Freeform 49"/>
              <p:cNvSpPr>
                <a:spLocks/>
              </p:cNvSpPr>
              <p:nvPr/>
            </p:nvSpPr>
            <p:spPr bwMode="auto">
              <a:xfrm>
                <a:off x="1301" y="1531"/>
                <a:ext cx="35" cy="36"/>
              </a:xfrm>
              <a:custGeom>
                <a:avLst/>
                <a:gdLst>
                  <a:gd name="T0" fmla="*/ 21 w 29"/>
                  <a:gd name="T1" fmla="*/ 0 h 29"/>
                  <a:gd name="T2" fmla="*/ 28 w 29"/>
                  <a:gd name="T3" fmla="*/ 13 h 29"/>
                  <a:gd name="T4" fmla="*/ 0 w 29"/>
                  <a:gd name="T5" fmla="*/ 29 h 29"/>
                  <a:gd name="T6" fmla="*/ 21 w 2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9">
                    <a:moveTo>
                      <a:pt x="21" y="0"/>
                    </a:moveTo>
                    <a:cubicBezTo>
                      <a:pt x="28" y="0"/>
                      <a:pt x="29" y="5"/>
                      <a:pt x="28" y="13"/>
                    </a:cubicBezTo>
                    <a:cubicBezTo>
                      <a:pt x="17" y="16"/>
                      <a:pt x="14" y="28"/>
                      <a:pt x="0" y="29"/>
                    </a:cubicBezTo>
                    <a:cubicBezTo>
                      <a:pt x="5" y="17"/>
                      <a:pt x="17" y="12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8" name="Freeform 50"/>
              <p:cNvSpPr>
                <a:spLocks/>
              </p:cNvSpPr>
              <p:nvPr/>
            </p:nvSpPr>
            <p:spPr bwMode="auto">
              <a:xfrm>
                <a:off x="711" y="1547"/>
                <a:ext cx="29" cy="50"/>
              </a:xfrm>
              <a:custGeom>
                <a:avLst/>
                <a:gdLst>
                  <a:gd name="T0" fmla="*/ 19 w 24"/>
                  <a:gd name="T1" fmla="*/ 0 h 41"/>
                  <a:gd name="T2" fmla="*/ 0 w 24"/>
                  <a:gd name="T3" fmla="*/ 33 h 41"/>
                  <a:gd name="T4" fmla="*/ 19 w 24"/>
                  <a:gd name="T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41">
                    <a:moveTo>
                      <a:pt x="19" y="0"/>
                    </a:moveTo>
                    <a:cubicBezTo>
                      <a:pt x="24" y="7"/>
                      <a:pt x="16" y="41"/>
                      <a:pt x="0" y="33"/>
                    </a:cubicBezTo>
                    <a:cubicBezTo>
                      <a:pt x="7" y="23"/>
                      <a:pt x="13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9" name="Freeform 51"/>
              <p:cNvSpPr>
                <a:spLocks/>
              </p:cNvSpPr>
              <p:nvPr/>
            </p:nvSpPr>
            <p:spPr bwMode="auto">
              <a:xfrm>
                <a:off x="1515" y="1573"/>
                <a:ext cx="24" cy="17"/>
              </a:xfrm>
              <a:custGeom>
                <a:avLst/>
                <a:gdLst>
                  <a:gd name="T0" fmla="*/ 20 w 20"/>
                  <a:gd name="T1" fmla="*/ 14 h 14"/>
                  <a:gd name="T2" fmla="*/ 2 w 20"/>
                  <a:gd name="T3" fmla="*/ 14 h 14"/>
                  <a:gd name="T4" fmla="*/ 0 w 20"/>
                  <a:gd name="T5" fmla="*/ 2 h 14"/>
                  <a:gd name="T6" fmla="*/ 20 w 2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20" y="14"/>
                    </a:moveTo>
                    <a:cubicBezTo>
                      <a:pt x="14" y="14"/>
                      <a:pt x="8" y="14"/>
                      <a:pt x="2" y="14"/>
                    </a:cubicBezTo>
                    <a:cubicBezTo>
                      <a:pt x="12" y="9"/>
                      <a:pt x="1" y="10"/>
                      <a:pt x="0" y="2"/>
                    </a:cubicBezTo>
                    <a:cubicBezTo>
                      <a:pt x="6" y="0"/>
                      <a:pt x="18" y="6"/>
                      <a:pt x="2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0" name="Freeform 52"/>
              <p:cNvSpPr>
                <a:spLocks/>
              </p:cNvSpPr>
              <p:nvPr/>
            </p:nvSpPr>
            <p:spPr bwMode="auto">
              <a:xfrm>
                <a:off x="1312" y="1574"/>
                <a:ext cx="12" cy="6"/>
              </a:xfrm>
              <a:custGeom>
                <a:avLst/>
                <a:gdLst>
                  <a:gd name="T0" fmla="*/ 10 w 10"/>
                  <a:gd name="T1" fmla="*/ 1 h 5"/>
                  <a:gd name="T2" fmla="*/ 0 w 10"/>
                  <a:gd name="T3" fmla="*/ 4 h 5"/>
                  <a:gd name="T4" fmla="*/ 10 w 10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0" y="1"/>
                    </a:moveTo>
                    <a:cubicBezTo>
                      <a:pt x="10" y="5"/>
                      <a:pt x="5" y="4"/>
                      <a:pt x="0" y="4"/>
                    </a:cubicBezTo>
                    <a:cubicBezTo>
                      <a:pt x="0" y="0"/>
                      <a:pt x="6" y="1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1" name="Freeform 53"/>
              <p:cNvSpPr>
                <a:spLocks/>
              </p:cNvSpPr>
              <p:nvPr/>
            </p:nvSpPr>
            <p:spPr bwMode="auto">
              <a:xfrm>
                <a:off x="697" y="1596"/>
                <a:ext cx="20" cy="12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9 h 10"/>
                  <a:gd name="T4" fmla="*/ 16 w 16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5" y="8"/>
                      <a:pt x="9" y="10"/>
                      <a:pt x="0" y="9"/>
                    </a:cubicBezTo>
                    <a:cubicBezTo>
                      <a:pt x="3" y="4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2" name="Freeform 54"/>
              <p:cNvSpPr>
                <a:spLocks/>
              </p:cNvSpPr>
              <p:nvPr/>
            </p:nvSpPr>
            <p:spPr bwMode="auto">
              <a:xfrm>
                <a:off x="1522" y="1588"/>
                <a:ext cx="16" cy="25"/>
              </a:xfrm>
              <a:custGeom>
                <a:avLst/>
                <a:gdLst>
                  <a:gd name="T0" fmla="*/ 10 w 13"/>
                  <a:gd name="T1" fmla="*/ 8 h 20"/>
                  <a:gd name="T2" fmla="*/ 12 w 13"/>
                  <a:gd name="T3" fmla="*/ 17 h 20"/>
                  <a:gd name="T4" fmla="*/ 0 w 13"/>
                  <a:gd name="T5" fmla="*/ 15 h 20"/>
                  <a:gd name="T6" fmla="*/ 10 w 13"/>
                  <a:gd name="T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0">
                    <a:moveTo>
                      <a:pt x="10" y="8"/>
                    </a:moveTo>
                    <a:cubicBezTo>
                      <a:pt x="13" y="3"/>
                      <a:pt x="12" y="15"/>
                      <a:pt x="12" y="17"/>
                    </a:cubicBezTo>
                    <a:cubicBezTo>
                      <a:pt x="7" y="17"/>
                      <a:pt x="2" y="18"/>
                      <a:pt x="0" y="15"/>
                    </a:cubicBezTo>
                    <a:cubicBezTo>
                      <a:pt x="0" y="0"/>
                      <a:pt x="11" y="20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3" name="Freeform 55"/>
              <p:cNvSpPr>
                <a:spLocks/>
              </p:cNvSpPr>
              <p:nvPr/>
            </p:nvSpPr>
            <p:spPr bwMode="auto">
              <a:xfrm>
                <a:off x="1543" y="1597"/>
                <a:ext cx="12" cy="15"/>
              </a:xfrm>
              <a:custGeom>
                <a:avLst/>
                <a:gdLst>
                  <a:gd name="T0" fmla="*/ 2 w 10"/>
                  <a:gd name="T1" fmla="*/ 1 h 12"/>
                  <a:gd name="T2" fmla="*/ 6 w 10"/>
                  <a:gd name="T3" fmla="*/ 12 h 12"/>
                  <a:gd name="T4" fmla="*/ 2 w 10"/>
                  <a:gd name="T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2" y="1"/>
                    </a:moveTo>
                    <a:cubicBezTo>
                      <a:pt x="7" y="0"/>
                      <a:pt x="10" y="9"/>
                      <a:pt x="6" y="12"/>
                    </a:cubicBezTo>
                    <a:cubicBezTo>
                      <a:pt x="0" y="12"/>
                      <a:pt x="0" y="4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4" name="Freeform 56"/>
              <p:cNvSpPr>
                <a:spLocks/>
              </p:cNvSpPr>
              <p:nvPr/>
            </p:nvSpPr>
            <p:spPr bwMode="auto">
              <a:xfrm>
                <a:off x="1404" y="1605"/>
                <a:ext cx="16" cy="17"/>
              </a:xfrm>
              <a:custGeom>
                <a:avLst/>
                <a:gdLst>
                  <a:gd name="T0" fmla="*/ 13 w 13"/>
                  <a:gd name="T1" fmla="*/ 1 h 14"/>
                  <a:gd name="T2" fmla="*/ 4 w 13"/>
                  <a:gd name="T3" fmla="*/ 14 h 14"/>
                  <a:gd name="T4" fmla="*/ 2 w 13"/>
                  <a:gd name="T5" fmla="*/ 3 h 14"/>
                  <a:gd name="T6" fmla="*/ 13 w 13"/>
                  <a:gd name="T7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1"/>
                    </a:moveTo>
                    <a:cubicBezTo>
                      <a:pt x="11" y="7"/>
                      <a:pt x="3" y="6"/>
                      <a:pt x="4" y="14"/>
                    </a:cubicBezTo>
                    <a:cubicBezTo>
                      <a:pt x="0" y="14"/>
                      <a:pt x="3" y="6"/>
                      <a:pt x="2" y="3"/>
                    </a:cubicBezTo>
                    <a:cubicBezTo>
                      <a:pt x="8" y="4"/>
                      <a:pt x="7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5" name="Freeform 57"/>
              <p:cNvSpPr>
                <a:spLocks/>
              </p:cNvSpPr>
              <p:nvPr/>
            </p:nvSpPr>
            <p:spPr bwMode="auto">
              <a:xfrm>
                <a:off x="663" y="1609"/>
                <a:ext cx="22" cy="17"/>
              </a:xfrm>
              <a:custGeom>
                <a:avLst/>
                <a:gdLst>
                  <a:gd name="T0" fmla="*/ 14 w 18"/>
                  <a:gd name="T1" fmla="*/ 0 h 14"/>
                  <a:gd name="T2" fmla="*/ 0 w 18"/>
                  <a:gd name="T3" fmla="*/ 14 h 14"/>
                  <a:gd name="T4" fmla="*/ 14 w 18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14" y="0"/>
                    </a:moveTo>
                    <a:cubicBezTo>
                      <a:pt x="18" y="7"/>
                      <a:pt x="7" y="14"/>
                      <a:pt x="0" y="14"/>
                    </a:cubicBezTo>
                    <a:cubicBezTo>
                      <a:pt x="2" y="8"/>
                      <a:pt x="8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6" name="Freeform 58"/>
              <p:cNvSpPr>
                <a:spLocks/>
              </p:cNvSpPr>
              <p:nvPr/>
            </p:nvSpPr>
            <p:spPr bwMode="auto">
              <a:xfrm>
                <a:off x="687" y="1612"/>
                <a:ext cx="21" cy="19"/>
              </a:xfrm>
              <a:custGeom>
                <a:avLst/>
                <a:gdLst>
                  <a:gd name="T0" fmla="*/ 7 w 18"/>
                  <a:gd name="T1" fmla="*/ 0 h 16"/>
                  <a:gd name="T2" fmla="*/ 13 w 18"/>
                  <a:gd name="T3" fmla="*/ 0 h 16"/>
                  <a:gd name="T4" fmla="*/ 16 w 18"/>
                  <a:gd name="T5" fmla="*/ 9 h 16"/>
                  <a:gd name="T6" fmla="*/ 0 w 18"/>
                  <a:gd name="T7" fmla="*/ 14 h 16"/>
                  <a:gd name="T8" fmla="*/ 11 w 18"/>
                  <a:gd name="T9" fmla="*/ 9 h 16"/>
                  <a:gd name="T10" fmla="*/ 7 w 18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6">
                    <a:moveTo>
                      <a:pt x="7" y="0"/>
                    </a:moveTo>
                    <a:cubicBezTo>
                      <a:pt x="9" y="0"/>
                      <a:pt x="11" y="0"/>
                      <a:pt x="13" y="0"/>
                    </a:cubicBezTo>
                    <a:cubicBezTo>
                      <a:pt x="10" y="7"/>
                      <a:pt x="18" y="3"/>
                      <a:pt x="16" y="9"/>
                    </a:cubicBezTo>
                    <a:cubicBezTo>
                      <a:pt x="10" y="9"/>
                      <a:pt x="9" y="16"/>
                      <a:pt x="0" y="14"/>
                    </a:cubicBezTo>
                    <a:cubicBezTo>
                      <a:pt x="0" y="9"/>
                      <a:pt x="9" y="12"/>
                      <a:pt x="11" y="9"/>
                    </a:cubicBezTo>
                    <a:cubicBezTo>
                      <a:pt x="10" y="5"/>
                      <a:pt x="6" y="6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7" name="Freeform 59"/>
              <p:cNvSpPr>
                <a:spLocks/>
              </p:cNvSpPr>
              <p:nvPr/>
            </p:nvSpPr>
            <p:spPr bwMode="auto">
              <a:xfrm>
                <a:off x="1379" y="1612"/>
                <a:ext cx="23" cy="21"/>
              </a:xfrm>
              <a:custGeom>
                <a:avLst/>
                <a:gdLst>
                  <a:gd name="T0" fmla="*/ 16 w 19"/>
                  <a:gd name="T1" fmla="*/ 0 h 18"/>
                  <a:gd name="T2" fmla="*/ 7 w 19"/>
                  <a:gd name="T3" fmla="*/ 16 h 18"/>
                  <a:gd name="T4" fmla="*/ 2 w 19"/>
                  <a:gd name="T5" fmla="*/ 12 h 18"/>
                  <a:gd name="T6" fmla="*/ 0 w 19"/>
                  <a:gd name="T7" fmla="*/ 9 h 18"/>
                  <a:gd name="T8" fmla="*/ 16 w 19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8">
                    <a:moveTo>
                      <a:pt x="16" y="0"/>
                    </a:moveTo>
                    <a:cubicBezTo>
                      <a:pt x="19" y="4"/>
                      <a:pt x="16" y="18"/>
                      <a:pt x="7" y="16"/>
                    </a:cubicBezTo>
                    <a:cubicBezTo>
                      <a:pt x="10" y="9"/>
                      <a:pt x="8" y="11"/>
                      <a:pt x="2" y="12"/>
                    </a:cubicBezTo>
                    <a:cubicBezTo>
                      <a:pt x="4" y="10"/>
                      <a:pt x="3" y="9"/>
                      <a:pt x="0" y="9"/>
                    </a:cubicBezTo>
                    <a:cubicBezTo>
                      <a:pt x="6" y="7"/>
                      <a:pt x="13" y="5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8" name="Freeform 60"/>
              <p:cNvSpPr>
                <a:spLocks/>
              </p:cNvSpPr>
              <p:nvPr/>
            </p:nvSpPr>
            <p:spPr bwMode="auto">
              <a:xfrm>
                <a:off x="1340" y="1626"/>
                <a:ext cx="14" cy="10"/>
              </a:xfrm>
              <a:custGeom>
                <a:avLst/>
                <a:gdLst>
                  <a:gd name="T0" fmla="*/ 9 w 12"/>
                  <a:gd name="T1" fmla="*/ 0 h 8"/>
                  <a:gd name="T2" fmla="*/ 12 w 12"/>
                  <a:gd name="T3" fmla="*/ 2 h 8"/>
                  <a:gd name="T4" fmla="*/ 12 w 12"/>
                  <a:gd name="T5" fmla="*/ 6 h 8"/>
                  <a:gd name="T6" fmla="*/ 0 w 12"/>
                  <a:gd name="T7" fmla="*/ 6 h 8"/>
                  <a:gd name="T8" fmla="*/ 9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9" y="0"/>
                    </a:moveTo>
                    <a:cubicBezTo>
                      <a:pt x="10" y="1"/>
                      <a:pt x="11" y="2"/>
                      <a:pt x="12" y="2"/>
                    </a:cubicBezTo>
                    <a:cubicBezTo>
                      <a:pt x="12" y="3"/>
                      <a:pt x="12" y="5"/>
                      <a:pt x="12" y="6"/>
                    </a:cubicBezTo>
                    <a:cubicBezTo>
                      <a:pt x="6" y="6"/>
                      <a:pt x="6" y="8"/>
                      <a:pt x="0" y="6"/>
                    </a:cubicBezTo>
                    <a:cubicBezTo>
                      <a:pt x="1" y="2"/>
                      <a:pt x="8" y="4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9" name="Freeform 61"/>
              <p:cNvSpPr>
                <a:spLocks/>
              </p:cNvSpPr>
              <p:nvPr/>
            </p:nvSpPr>
            <p:spPr bwMode="auto">
              <a:xfrm>
                <a:off x="1403" y="1625"/>
                <a:ext cx="17" cy="14"/>
              </a:xfrm>
              <a:custGeom>
                <a:avLst/>
                <a:gdLst>
                  <a:gd name="T0" fmla="*/ 14 w 14"/>
                  <a:gd name="T1" fmla="*/ 3 h 12"/>
                  <a:gd name="T2" fmla="*/ 7 w 14"/>
                  <a:gd name="T3" fmla="*/ 10 h 12"/>
                  <a:gd name="T4" fmla="*/ 0 w 14"/>
                  <a:gd name="T5" fmla="*/ 5 h 12"/>
                  <a:gd name="T6" fmla="*/ 14 w 14"/>
                  <a:gd name="T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2">
                    <a:moveTo>
                      <a:pt x="14" y="3"/>
                    </a:moveTo>
                    <a:cubicBezTo>
                      <a:pt x="13" y="10"/>
                      <a:pt x="6" y="4"/>
                      <a:pt x="7" y="10"/>
                    </a:cubicBezTo>
                    <a:cubicBezTo>
                      <a:pt x="1" y="12"/>
                      <a:pt x="4" y="4"/>
                      <a:pt x="0" y="5"/>
                    </a:cubicBezTo>
                    <a:cubicBezTo>
                      <a:pt x="3" y="3"/>
                      <a:pt x="10" y="0"/>
                      <a:pt x="1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0" name="Freeform 62"/>
              <p:cNvSpPr>
                <a:spLocks/>
              </p:cNvSpPr>
              <p:nvPr/>
            </p:nvSpPr>
            <p:spPr bwMode="auto">
              <a:xfrm>
                <a:off x="1567" y="1631"/>
                <a:ext cx="22" cy="10"/>
              </a:xfrm>
              <a:custGeom>
                <a:avLst/>
                <a:gdLst>
                  <a:gd name="T0" fmla="*/ 18 w 18"/>
                  <a:gd name="T1" fmla="*/ 0 h 8"/>
                  <a:gd name="T2" fmla="*/ 0 w 18"/>
                  <a:gd name="T3" fmla="*/ 7 h 8"/>
                  <a:gd name="T4" fmla="*/ 18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0"/>
                    </a:moveTo>
                    <a:cubicBezTo>
                      <a:pt x="17" y="8"/>
                      <a:pt x="8" y="7"/>
                      <a:pt x="0" y="7"/>
                    </a:cubicBezTo>
                    <a:cubicBezTo>
                      <a:pt x="5" y="3"/>
                      <a:pt x="11" y="2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1" name="Freeform 63"/>
              <p:cNvSpPr>
                <a:spLocks/>
              </p:cNvSpPr>
              <p:nvPr/>
            </p:nvSpPr>
            <p:spPr bwMode="auto">
              <a:xfrm>
                <a:off x="714" y="1639"/>
                <a:ext cx="11" cy="16"/>
              </a:xfrm>
              <a:custGeom>
                <a:avLst/>
                <a:gdLst>
                  <a:gd name="T0" fmla="*/ 6 w 9"/>
                  <a:gd name="T1" fmla="*/ 0 h 13"/>
                  <a:gd name="T2" fmla="*/ 0 w 9"/>
                  <a:gd name="T3" fmla="*/ 13 h 13"/>
                  <a:gd name="T4" fmla="*/ 6 w 9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3">
                    <a:moveTo>
                      <a:pt x="6" y="0"/>
                    </a:moveTo>
                    <a:cubicBezTo>
                      <a:pt x="9" y="3"/>
                      <a:pt x="6" y="13"/>
                      <a:pt x="0" y="13"/>
                    </a:cubicBezTo>
                    <a:cubicBezTo>
                      <a:pt x="0" y="7"/>
                      <a:pt x="6" y="6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2" name="Freeform 64"/>
              <p:cNvSpPr>
                <a:spLocks/>
              </p:cNvSpPr>
              <p:nvPr/>
            </p:nvSpPr>
            <p:spPr bwMode="auto">
              <a:xfrm>
                <a:off x="1554" y="1646"/>
                <a:ext cx="38" cy="13"/>
              </a:xfrm>
              <a:custGeom>
                <a:avLst/>
                <a:gdLst>
                  <a:gd name="T0" fmla="*/ 32 w 32"/>
                  <a:gd name="T1" fmla="*/ 0 h 11"/>
                  <a:gd name="T2" fmla="*/ 0 w 32"/>
                  <a:gd name="T3" fmla="*/ 9 h 11"/>
                  <a:gd name="T4" fmla="*/ 32 w 32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1">
                    <a:moveTo>
                      <a:pt x="32" y="0"/>
                    </a:moveTo>
                    <a:cubicBezTo>
                      <a:pt x="29" y="10"/>
                      <a:pt x="9" y="11"/>
                      <a:pt x="0" y="9"/>
                    </a:cubicBezTo>
                    <a:cubicBezTo>
                      <a:pt x="6" y="2"/>
                      <a:pt x="22" y="4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3" name="Freeform 65"/>
              <p:cNvSpPr>
                <a:spLocks/>
              </p:cNvSpPr>
              <p:nvPr/>
            </p:nvSpPr>
            <p:spPr bwMode="auto">
              <a:xfrm>
                <a:off x="1392" y="1653"/>
                <a:ext cx="58" cy="13"/>
              </a:xfrm>
              <a:custGeom>
                <a:avLst/>
                <a:gdLst>
                  <a:gd name="T0" fmla="*/ 48 w 48"/>
                  <a:gd name="T1" fmla="*/ 3 h 11"/>
                  <a:gd name="T2" fmla="*/ 21 w 48"/>
                  <a:gd name="T3" fmla="*/ 10 h 11"/>
                  <a:gd name="T4" fmla="*/ 19 w 48"/>
                  <a:gd name="T5" fmla="*/ 5 h 11"/>
                  <a:gd name="T6" fmla="*/ 0 w 48"/>
                  <a:gd name="T7" fmla="*/ 5 h 11"/>
                  <a:gd name="T8" fmla="*/ 48 w 48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1">
                    <a:moveTo>
                      <a:pt x="48" y="3"/>
                    </a:moveTo>
                    <a:cubicBezTo>
                      <a:pt x="44" y="11"/>
                      <a:pt x="29" y="8"/>
                      <a:pt x="21" y="10"/>
                    </a:cubicBezTo>
                    <a:cubicBezTo>
                      <a:pt x="20" y="7"/>
                      <a:pt x="16" y="9"/>
                      <a:pt x="19" y="5"/>
                    </a:cubicBezTo>
                    <a:cubicBezTo>
                      <a:pt x="14" y="9"/>
                      <a:pt x="5" y="10"/>
                      <a:pt x="0" y="5"/>
                    </a:cubicBezTo>
                    <a:cubicBezTo>
                      <a:pt x="13" y="0"/>
                      <a:pt x="33" y="3"/>
                      <a:pt x="4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4" name="Freeform 66"/>
              <p:cNvSpPr>
                <a:spLocks/>
              </p:cNvSpPr>
              <p:nvPr/>
            </p:nvSpPr>
            <p:spPr bwMode="auto">
              <a:xfrm>
                <a:off x="670" y="1665"/>
                <a:ext cx="13" cy="10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2 w 11"/>
                  <a:gd name="T5" fmla="*/ 2 h 8"/>
                  <a:gd name="T6" fmla="*/ 11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10" y="6"/>
                      <a:pt x="4" y="6"/>
                      <a:pt x="0" y="8"/>
                    </a:cubicBezTo>
                    <a:cubicBezTo>
                      <a:pt x="1" y="6"/>
                      <a:pt x="2" y="5"/>
                      <a:pt x="2" y="2"/>
                    </a:cubicBezTo>
                    <a:cubicBezTo>
                      <a:pt x="7" y="4"/>
                      <a:pt x="6" y="0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5" name="Freeform 67"/>
              <p:cNvSpPr>
                <a:spLocks/>
              </p:cNvSpPr>
              <p:nvPr/>
            </p:nvSpPr>
            <p:spPr bwMode="auto">
              <a:xfrm>
                <a:off x="1420" y="1670"/>
                <a:ext cx="33" cy="24"/>
              </a:xfrm>
              <a:custGeom>
                <a:avLst/>
                <a:gdLst>
                  <a:gd name="T0" fmla="*/ 27 w 27"/>
                  <a:gd name="T1" fmla="*/ 7 h 20"/>
                  <a:gd name="T2" fmla="*/ 19 w 27"/>
                  <a:gd name="T3" fmla="*/ 20 h 20"/>
                  <a:gd name="T4" fmla="*/ 0 w 27"/>
                  <a:gd name="T5" fmla="*/ 7 h 20"/>
                  <a:gd name="T6" fmla="*/ 27 w 27"/>
                  <a:gd name="T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0">
                    <a:moveTo>
                      <a:pt x="27" y="7"/>
                    </a:moveTo>
                    <a:cubicBezTo>
                      <a:pt x="27" y="14"/>
                      <a:pt x="23" y="16"/>
                      <a:pt x="19" y="20"/>
                    </a:cubicBezTo>
                    <a:cubicBezTo>
                      <a:pt x="11" y="17"/>
                      <a:pt x="7" y="11"/>
                      <a:pt x="0" y="7"/>
                    </a:cubicBezTo>
                    <a:cubicBezTo>
                      <a:pt x="6" y="2"/>
                      <a:pt x="23" y="0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6" name="Freeform 68"/>
              <p:cNvSpPr>
                <a:spLocks/>
              </p:cNvSpPr>
              <p:nvPr/>
            </p:nvSpPr>
            <p:spPr bwMode="auto">
              <a:xfrm>
                <a:off x="661" y="1676"/>
                <a:ext cx="19" cy="13"/>
              </a:xfrm>
              <a:custGeom>
                <a:avLst/>
                <a:gdLst>
                  <a:gd name="T0" fmla="*/ 16 w 16"/>
                  <a:gd name="T1" fmla="*/ 0 h 11"/>
                  <a:gd name="T2" fmla="*/ 0 w 16"/>
                  <a:gd name="T3" fmla="*/ 11 h 11"/>
                  <a:gd name="T4" fmla="*/ 16 w 16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1">
                    <a:moveTo>
                      <a:pt x="16" y="0"/>
                    </a:moveTo>
                    <a:cubicBezTo>
                      <a:pt x="12" y="5"/>
                      <a:pt x="8" y="10"/>
                      <a:pt x="0" y="11"/>
                    </a:cubicBezTo>
                    <a:cubicBezTo>
                      <a:pt x="6" y="8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7" name="Freeform 69"/>
              <p:cNvSpPr>
                <a:spLocks/>
              </p:cNvSpPr>
              <p:nvPr/>
            </p:nvSpPr>
            <p:spPr bwMode="auto">
              <a:xfrm>
                <a:off x="676" y="1738"/>
                <a:ext cx="13" cy="12"/>
              </a:xfrm>
              <a:custGeom>
                <a:avLst/>
                <a:gdLst>
                  <a:gd name="T0" fmla="*/ 4 w 11"/>
                  <a:gd name="T1" fmla="*/ 1 h 10"/>
                  <a:gd name="T2" fmla="*/ 6 w 11"/>
                  <a:gd name="T3" fmla="*/ 10 h 10"/>
                  <a:gd name="T4" fmla="*/ 4 w 11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0">
                    <a:moveTo>
                      <a:pt x="4" y="1"/>
                    </a:moveTo>
                    <a:cubicBezTo>
                      <a:pt x="11" y="0"/>
                      <a:pt x="5" y="7"/>
                      <a:pt x="6" y="10"/>
                    </a:cubicBezTo>
                    <a:cubicBezTo>
                      <a:pt x="0" y="9"/>
                      <a:pt x="3" y="5"/>
                      <a:pt x="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8" name="Freeform 70"/>
              <p:cNvSpPr>
                <a:spLocks/>
              </p:cNvSpPr>
              <p:nvPr/>
            </p:nvSpPr>
            <p:spPr bwMode="auto">
              <a:xfrm>
                <a:off x="570" y="1769"/>
                <a:ext cx="11" cy="11"/>
              </a:xfrm>
              <a:custGeom>
                <a:avLst/>
                <a:gdLst>
                  <a:gd name="T0" fmla="*/ 9 w 9"/>
                  <a:gd name="T1" fmla="*/ 0 h 9"/>
                  <a:gd name="T2" fmla="*/ 9 w 9"/>
                  <a:gd name="T3" fmla="*/ 7 h 9"/>
                  <a:gd name="T4" fmla="*/ 0 w 9"/>
                  <a:gd name="T5" fmla="*/ 9 h 9"/>
                  <a:gd name="T6" fmla="*/ 9 w 9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9" y="0"/>
                    </a:moveTo>
                    <a:cubicBezTo>
                      <a:pt x="9" y="2"/>
                      <a:pt x="9" y="5"/>
                      <a:pt x="9" y="7"/>
                    </a:cubicBezTo>
                    <a:cubicBezTo>
                      <a:pt x="7" y="9"/>
                      <a:pt x="4" y="9"/>
                      <a:pt x="0" y="9"/>
                    </a:cubicBezTo>
                    <a:cubicBezTo>
                      <a:pt x="1" y="3"/>
                      <a:pt x="3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9" name="Freeform 71"/>
              <p:cNvSpPr>
                <a:spLocks/>
              </p:cNvSpPr>
              <p:nvPr/>
            </p:nvSpPr>
            <p:spPr bwMode="auto">
              <a:xfrm>
                <a:off x="659" y="1783"/>
                <a:ext cx="13" cy="29"/>
              </a:xfrm>
              <a:custGeom>
                <a:avLst/>
                <a:gdLst>
                  <a:gd name="T0" fmla="*/ 7 w 11"/>
                  <a:gd name="T1" fmla="*/ 0 h 24"/>
                  <a:gd name="T2" fmla="*/ 0 w 11"/>
                  <a:gd name="T3" fmla="*/ 24 h 24"/>
                  <a:gd name="T4" fmla="*/ 7 w 1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4">
                    <a:moveTo>
                      <a:pt x="7" y="0"/>
                    </a:moveTo>
                    <a:cubicBezTo>
                      <a:pt x="11" y="7"/>
                      <a:pt x="7" y="22"/>
                      <a:pt x="0" y="24"/>
                    </a:cubicBezTo>
                    <a:cubicBezTo>
                      <a:pt x="1" y="15"/>
                      <a:pt x="4" y="7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0" name="Freeform 72"/>
              <p:cNvSpPr>
                <a:spLocks/>
              </p:cNvSpPr>
              <p:nvPr/>
            </p:nvSpPr>
            <p:spPr bwMode="auto">
              <a:xfrm>
                <a:off x="568" y="1784"/>
                <a:ext cx="14" cy="22"/>
              </a:xfrm>
              <a:custGeom>
                <a:avLst/>
                <a:gdLst>
                  <a:gd name="T0" fmla="*/ 8 w 12"/>
                  <a:gd name="T1" fmla="*/ 0 h 18"/>
                  <a:gd name="T2" fmla="*/ 4 w 12"/>
                  <a:gd name="T3" fmla="*/ 18 h 18"/>
                  <a:gd name="T4" fmla="*/ 8 w 12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8">
                    <a:moveTo>
                      <a:pt x="8" y="0"/>
                    </a:moveTo>
                    <a:cubicBezTo>
                      <a:pt x="12" y="5"/>
                      <a:pt x="5" y="13"/>
                      <a:pt x="4" y="18"/>
                    </a:cubicBezTo>
                    <a:cubicBezTo>
                      <a:pt x="0" y="14"/>
                      <a:pt x="2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1" name="Freeform 73"/>
              <p:cNvSpPr>
                <a:spLocks/>
              </p:cNvSpPr>
              <p:nvPr/>
            </p:nvSpPr>
            <p:spPr bwMode="auto">
              <a:xfrm>
                <a:off x="529" y="1785"/>
                <a:ext cx="41" cy="207"/>
              </a:xfrm>
              <a:custGeom>
                <a:avLst/>
                <a:gdLst>
                  <a:gd name="T0" fmla="*/ 22 w 34"/>
                  <a:gd name="T1" fmla="*/ 1 h 170"/>
                  <a:gd name="T2" fmla="*/ 25 w 34"/>
                  <a:gd name="T3" fmla="*/ 58 h 170"/>
                  <a:gd name="T4" fmla="*/ 29 w 34"/>
                  <a:gd name="T5" fmla="*/ 53 h 170"/>
                  <a:gd name="T6" fmla="*/ 25 w 34"/>
                  <a:gd name="T7" fmla="*/ 78 h 170"/>
                  <a:gd name="T8" fmla="*/ 29 w 34"/>
                  <a:gd name="T9" fmla="*/ 72 h 170"/>
                  <a:gd name="T10" fmla="*/ 32 w 34"/>
                  <a:gd name="T11" fmla="*/ 90 h 170"/>
                  <a:gd name="T12" fmla="*/ 27 w 34"/>
                  <a:gd name="T13" fmla="*/ 87 h 170"/>
                  <a:gd name="T14" fmla="*/ 24 w 34"/>
                  <a:gd name="T15" fmla="*/ 170 h 170"/>
                  <a:gd name="T16" fmla="*/ 9 w 34"/>
                  <a:gd name="T17" fmla="*/ 3 h 170"/>
                  <a:gd name="T18" fmla="*/ 22 w 34"/>
                  <a:gd name="T19" fmla="*/ 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70">
                    <a:moveTo>
                      <a:pt x="22" y="1"/>
                    </a:moveTo>
                    <a:cubicBezTo>
                      <a:pt x="26" y="22"/>
                      <a:pt x="23" y="43"/>
                      <a:pt x="25" y="58"/>
                    </a:cubicBezTo>
                    <a:cubicBezTo>
                      <a:pt x="29" y="59"/>
                      <a:pt x="29" y="56"/>
                      <a:pt x="29" y="53"/>
                    </a:cubicBezTo>
                    <a:cubicBezTo>
                      <a:pt x="34" y="64"/>
                      <a:pt x="26" y="68"/>
                      <a:pt x="25" y="78"/>
                    </a:cubicBezTo>
                    <a:cubicBezTo>
                      <a:pt x="29" y="79"/>
                      <a:pt x="29" y="75"/>
                      <a:pt x="29" y="72"/>
                    </a:cubicBezTo>
                    <a:cubicBezTo>
                      <a:pt x="32" y="76"/>
                      <a:pt x="33" y="83"/>
                      <a:pt x="32" y="90"/>
                    </a:cubicBezTo>
                    <a:cubicBezTo>
                      <a:pt x="30" y="90"/>
                      <a:pt x="30" y="87"/>
                      <a:pt x="27" y="87"/>
                    </a:cubicBezTo>
                    <a:cubicBezTo>
                      <a:pt x="21" y="114"/>
                      <a:pt x="30" y="146"/>
                      <a:pt x="24" y="170"/>
                    </a:cubicBezTo>
                    <a:cubicBezTo>
                      <a:pt x="11" y="120"/>
                      <a:pt x="0" y="62"/>
                      <a:pt x="9" y="3"/>
                    </a:cubicBezTo>
                    <a:cubicBezTo>
                      <a:pt x="15" y="4"/>
                      <a:pt x="16" y="0"/>
                      <a:pt x="2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2" name="Freeform 74"/>
              <p:cNvSpPr>
                <a:spLocks/>
              </p:cNvSpPr>
              <p:nvPr/>
            </p:nvSpPr>
            <p:spPr bwMode="auto">
              <a:xfrm>
                <a:off x="566" y="1803"/>
                <a:ext cx="6" cy="26"/>
              </a:xfrm>
              <a:custGeom>
                <a:avLst/>
                <a:gdLst>
                  <a:gd name="T0" fmla="*/ 1 w 5"/>
                  <a:gd name="T1" fmla="*/ 7 h 21"/>
                  <a:gd name="T2" fmla="*/ 3 w 5"/>
                  <a:gd name="T3" fmla="*/ 20 h 21"/>
                  <a:gd name="T4" fmla="*/ 1 w 5"/>
                  <a:gd name="T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1">
                    <a:moveTo>
                      <a:pt x="1" y="7"/>
                    </a:moveTo>
                    <a:cubicBezTo>
                      <a:pt x="3" y="0"/>
                      <a:pt x="5" y="18"/>
                      <a:pt x="3" y="20"/>
                    </a:cubicBezTo>
                    <a:cubicBezTo>
                      <a:pt x="3" y="21"/>
                      <a:pt x="0" y="1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3" name="Freeform 75"/>
              <p:cNvSpPr>
                <a:spLocks/>
              </p:cNvSpPr>
              <p:nvPr/>
            </p:nvSpPr>
            <p:spPr bwMode="auto">
              <a:xfrm>
                <a:off x="649" y="1814"/>
                <a:ext cx="18" cy="25"/>
              </a:xfrm>
              <a:custGeom>
                <a:avLst/>
                <a:gdLst>
                  <a:gd name="T0" fmla="*/ 6 w 15"/>
                  <a:gd name="T1" fmla="*/ 0 h 20"/>
                  <a:gd name="T2" fmla="*/ 5 w 15"/>
                  <a:gd name="T3" fmla="*/ 20 h 20"/>
                  <a:gd name="T4" fmla="*/ 6 w 15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6" y="0"/>
                    </a:moveTo>
                    <a:cubicBezTo>
                      <a:pt x="15" y="3"/>
                      <a:pt x="7" y="14"/>
                      <a:pt x="5" y="20"/>
                    </a:cubicBezTo>
                    <a:cubicBezTo>
                      <a:pt x="0" y="12"/>
                      <a:pt x="6" y="1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4" name="Freeform 76"/>
              <p:cNvSpPr>
                <a:spLocks/>
              </p:cNvSpPr>
              <p:nvPr/>
            </p:nvSpPr>
            <p:spPr bwMode="auto">
              <a:xfrm>
                <a:off x="1445" y="1833"/>
                <a:ext cx="44" cy="53"/>
              </a:xfrm>
              <a:custGeom>
                <a:avLst/>
                <a:gdLst>
                  <a:gd name="T0" fmla="*/ 0 w 36"/>
                  <a:gd name="T1" fmla="*/ 0 h 44"/>
                  <a:gd name="T2" fmla="*/ 20 w 36"/>
                  <a:gd name="T3" fmla="*/ 21 h 44"/>
                  <a:gd name="T4" fmla="*/ 36 w 36"/>
                  <a:gd name="T5" fmla="*/ 44 h 44"/>
                  <a:gd name="T6" fmla="*/ 0 w 36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44">
                    <a:moveTo>
                      <a:pt x="0" y="0"/>
                    </a:moveTo>
                    <a:cubicBezTo>
                      <a:pt x="5" y="8"/>
                      <a:pt x="14" y="13"/>
                      <a:pt x="20" y="21"/>
                    </a:cubicBezTo>
                    <a:cubicBezTo>
                      <a:pt x="13" y="21"/>
                      <a:pt x="32" y="38"/>
                      <a:pt x="36" y="44"/>
                    </a:cubicBezTo>
                    <a:cubicBezTo>
                      <a:pt x="22" y="38"/>
                      <a:pt x="7" y="18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5" name="Freeform 77"/>
              <p:cNvSpPr>
                <a:spLocks/>
              </p:cNvSpPr>
              <p:nvPr/>
            </p:nvSpPr>
            <p:spPr bwMode="auto">
              <a:xfrm>
                <a:off x="639" y="1841"/>
                <a:ext cx="16" cy="26"/>
              </a:xfrm>
              <a:custGeom>
                <a:avLst/>
                <a:gdLst>
                  <a:gd name="T0" fmla="*/ 9 w 13"/>
                  <a:gd name="T1" fmla="*/ 0 h 21"/>
                  <a:gd name="T2" fmla="*/ 4 w 13"/>
                  <a:gd name="T3" fmla="*/ 21 h 21"/>
                  <a:gd name="T4" fmla="*/ 9 w 13"/>
                  <a:gd name="T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1">
                    <a:moveTo>
                      <a:pt x="9" y="0"/>
                    </a:moveTo>
                    <a:cubicBezTo>
                      <a:pt x="13" y="6"/>
                      <a:pt x="5" y="15"/>
                      <a:pt x="4" y="21"/>
                    </a:cubicBezTo>
                    <a:cubicBezTo>
                      <a:pt x="0" y="15"/>
                      <a:pt x="7" y="5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6" name="Freeform 78"/>
              <p:cNvSpPr>
                <a:spLocks/>
              </p:cNvSpPr>
              <p:nvPr/>
            </p:nvSpPr>
            <p:spPr bwMode="auto">
              <a:xfrm>
                <a:off x="508" y="1856"/>
                <a:ext cx="23" cy="29"/>
              </a:xfrm>
              <a:custGeom>
                <a:avLst/>
                <a:gdLst>
                  <a:gd name="T0" fmla="*/ 19 w 19"/>
                  <a:gd name="T1" fmla="*/ 0 h 24"/>
                  <a:gd name="T2" fmla="*/ 19 w 19"/>
                  <a:gd name="T3" fmla="*/ 18 h 24"/>
                  <a:gd name="T4" fmla="*/ 7 w 19"/>
                  <a:gd name="T5" fmla="*/ 23 h 24"/>
                  <a:gd name="T6" fmla="*/ 0 w 19"/>
                  <a:gd name="T7" fmla="*/ 18 h 24"/>
                  <a:gd name="T8" fmla="*/ 19 w 19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4">
                    <a:moveTo>
                      <a:pt x="19" y="0"/>
                    </a:moveTo>
                    <a:cubicBezTo>
                      <a:pt x="19" y="6"/>
                      <a:pt x="19" y="12"/>
                      <a:pt x="19" y="18"/>
                    </a:cubicBezTo>
                    <a:cubicBezTo>
                      <a:pt x="10" y="15"/>
                      <a:pt x="13" y="24"/>
                      <a:pt x="7" y="23"/>
                    </a:cubicBezTo>
                    <a:cubicBezTo>
                      <a:pt x="2" y="24"/>
                      <a:pt x="2" y="19"/>
                      <a:pt x="0" y="18"/>
                    </a:cubicBezTo>
                    <a:cubicBezTo>
                      <a:pt x="2" y="8"/>
                      <a:pt x="10" y="4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7" name="Freeform 79"/>
              <p:cNvSpPr>
                <a:spLocks/>
              </p:cNvSpPr>
              <p:nvPr/>
            </p:nvSpPr>
            <p:spPr bwMode="auto">
              <a:xfrm>
                <a:off x="395" y="1886"/>
                <a:ext cx="74" cy="55"/>
              </a:xfrm>
              <a:custGeom>
                <a:avLst/>
                <a:gdLst>
                  <a:gd name="T0" fmla="*/ 50 w 61"/>
                  <a:gd name="T1" fmla="*/ 9 h 45"/>
                  <a:gd name="T2" fmla="*/ 39 w 61"/>
                  <a:gd name="T3" fmla="*/ 18 h 45"/>
                  <a:gd name="T4" fmla="*/ 61 w 61"/>
                  <a:gd name="T5" fmla="*/ 14 h 45"/>
                  <a:gd name="T6" fmla="*/ 39 w 61"/>
                  <a:gd name="T7" fmla="*/ 21 h 45"/>
                  <a:gd name="T8" fmla="*/ 36 w 61"/>
                  <a:gd name="T9" fmla="*/ 34 h 45"/>
                  <a:gd name="T10" fmla="*/ 4 w 61"/>
                  <a:gd name="T11" fmla="*/ 45 h 45"/>
                  <a:gd name="T12" fmla="*/ 23 w 61"/>
                  <a:gd name="T13" fmla="*/ 21 h 45"/>
                  <a:gd name="T14" fmla="*/ 32 w 61"/>
                  <a:gd name="T15" fmla="*/ 14 h 45"/>
                  <a:gd name="T16" fmla="*/ 21 w 61"/>
                  <a:gd name="T17" fmla="*/ 16 h 45"/>
                  <a:gd name="T18" fmla="*/ 50 w 61"/>
                  <a:gd name="T19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5">
                    <a:moveTo>
                      <a:pt x="50" y="9"/>
                    </a:moveTo>
                    <a:cubicBezTo>
                      <a:pt x="47" y="13"/>
                      <a:pt x="40" y="12"/>
                      <a:pt x="39" y="18"/>
                    </a:cubicBezTo>
                    <a:cubicBezTo>
                      <a:pt x="50" y="18"/>
                      <a:pt x="49" y="15"/>
                      <a:pt x="61" y="14"/>
                    </a:cubicBezTo>
                    <a:cubicBezTo>
                      <a:pt x="60" y="27"/>
                      <a:pt x="47" y="18"/>
                      <a:pt x="39" y="21"/>
                    </a:cubicBezTo>
                    <a:cubicBezTo>
                      <a:pt x="36" y="23"/>
                      <a:pt x="35" y="28"/>
                      <a:pt x="36" y="34"/>
                    </a:cubicBezTo>
                    <a:cubicBezTo>
                      <a:pt x="27" y="40"/>
                      <a:pt x="12" y="39"/>
                      <a:pt x="4" y="45"/>
                    </a:cubicBezTo>
                    <a:cubicBezTo>
                      <a:pt x="0" y="36"/>
                      <a:pt x="15" y="13"/>
                      <a:pt x="23" y="21"/>
                    </a:cubicBezTo>
                    <a:cubicBezTo>
                      <a:pt x="28" y="21"/>
                      <a:pt x="30" y="17"/>
                      <a:pt x="32" y="14"/>
                    </a:cubicBezTo>
                    <a:cubicBezTo>
                      <a:pt x="30" y="9"/>
                      <a:pt x="26" y="17"/>
                      <a:pt x="21" y="16"/>
                    </a:cubicBezTo>
                    <a:cubicBezTo>
                      <a:pt x="27" y="0"/>
                      <a:pt x="34" y="1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8" name="Freeform 80"/>
              <p:cNvSpPr>
                <a:spLocks/>
              </p:cNvSpPr>
              <p:nvPr/>
            </p:nvSpPr>
            <p:spPr bwMode="auto">
              <a:xfrm>
                <a:off x="1500" y="1924"/>
                <a:ext cx="9" cy="9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1 h 8"/>
                  <a:gd name="T4" fmla="*/ 7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cubicBezTo>
                      <a:pt x="2" y="8"/>
                      <a:pt x="0" y="6"/>
                      <a:pt x="0" y="1"/>
                    </a:cubicBezTo>
                    <a:cubicBezTo>
                      <a:pt x="6" y="0"/>
                      <a:pt x="6" y="4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9" name="Freeform 81"/>
              <p:cNvSpPr>
                <a:spLocks/>
              </p:cNvSpPr>
              <p:nvPr/>
            </p:nvSpPr>
            <p:spPr bwMode="auto">
              <a:xfrm>
                <a:off x="1630" y="1925"/>
                <a:ext cx="15" cy="17"/>
              </a:xfrm>
              <a:custGeom>
                <a:avLst/>
                <a:gdLst>
                  <a:gd name="T0" fmla="*/ 12 w 12"/>
                  <a:gd name="T1" fmla="*/ 0 h 14"/>
                  <a:gd name="T2" fmla="*/ 0 w 12"/>
                  <a:gd name="T3" fmla="*/ 14 h 14"/>
                  <a:gd name="T4" fmla="*/ 12 w 12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cubicBezTo>
                      <a:pt x="10" y="7"/>
                      <a:pt x="7" y="13"/>
                      <a:pt x="0" y="14"/>
                    </a:cubicBezTo>
                    <a:cubicBezTo>
                      <a:pt x="2" y="8"/>
                      <a:pt x="6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0" name="Freeform 82"/>
              <p:cNvSpPr>
                <a:spLocks/>
              </p:cNvSpPr>
              <p:nvPr/>
            </p:nvSpPr>
            <p:spPr bwMode="auto">
              <a:xfrm>
                <a:off x="525" y="1940"/>
                <a:ext cx="9" cy="13"/>
              </a:xfrm>
              <a:custGeom>
                <a:avLst/>
                <a:gdLst>
                  <a:gd name="T0" fmla="*/ 7 w 7"/>
                  <a:gd name="T1" fmla="*/ 1 h 11"/>
                  <a:gd name="T2" fmla="*/ 0 w 7"/>
                  <a:gd name="T3" fmla="*/ 6 h 11"/>
                  <a:gd name="T4" fmla="*/ 0 w 7"/>
                  <a:gd name="T5" fmla="*/ 2 h 11"/>
                  <a:gd name="T6" fmla="*/ 7 w 7"/>
                  <a:gd name="T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7" y="1"/>
                    </a:moveTo>
                    <a:cubicBezTo>
                      <a:pt x="6" y="3"/>
                      <a:pt x="3" y="11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3" y="3"/>
                      <a:pt x="4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1" name="Freeform 83"/>
              <p:cNvSpPr>
                <a:spLocks/>
              </p:cNvSpPr>
              <p:nvPr/>
            </p:nvSpPr>
            <p:spPr bwMode="auto">
              <a:xfrm>
                <a:off x="1597" y="1950"/>
                <a:ext cx="33" cy="27"/>
              </a:xfrm>
              <a:custGeom>
                <a:avLst/>
                <a:gdLst>
                  <a:gd name="T0" fmla="*/ 19 w 27"/>
                  <a:gd name="T1" fmla="*/ 0 h 22"/>
                  <a:gd name="T2" fmla="*/ 5 w 27"/>
                  <a:gd name="T3" fmla="*/ 22 h 22"/>
                  <a:gd name="T4" fmla="*/ 19 w 27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22">
                    <a:moveTo>
                      <a:pt x="19" y="0"/>
                    </a:moveTo>
                    <a:cubicBezTo>
                      <a:pt x="27" y="6"/>
                      <a:pt x="11" y="18"/>
                      <a:pt x="5" y="22"/>
                    </a:cubicBezTo>
                    <a:cubicBezTo>
                      <a:pt x="0" y="12"/>
                      <a:pt x="20" y="11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2" name="Freeform 84"/>
              <p:cNvSpPr>
                <a:spLocks/>
              </p:cNvSpPr>
              <p:nvPr/>
            </p:nvSpPr>
            <p:spPr bwMode="auto">
              <a:xfrm>
                <a:off x="413" y="1955"/>
                <a:ext cx="16" cy="17"/>
              </a:xfrm>
              <a:custGeom>
                <a:avLst/>
                <a:gdLst>
                  <a:gd name="T0" fmla="*/ 13 w 13"/>
                  <a:gd name="T1" fmla="*/ 7 h 14"/>
                  <a:gd name="T2" fmla="*/ 8 w 13"/>
                  <a:gd name="T3" fmla="*/ 14 h 14"/>
                  <a:gd name="T4" fmla="*/ 13 w 13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13" y="7"/>
                    </a:moveTo>
                    <a:cubicBezTo>
                      <a:pt x="13" y="11"/>
                      <a:pt x="10" y="12"/>
                      <a:pt x="8" y="14"/>
                    </a:cubicBezTo>
                    <a:cubicBezTo>
                      <a:pt x="0" y="12"/>
                      <a:pt x="8" y="0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3" name="Freeform 85"/>
              <p:cNvSpPr>
                <a:spLocks/>
              </p:cNvSpPr>
              <p:nvPr/>
            </p:nvSpPr>
            <p:spPr bwMode="auto">
              <a:xfrm>
                <a:off x="1461" y="1964"/>
                <a:ext cx="11" cy="11"/>
              </a:xfrm>
              <a:custGeom>
                <a:avLst/>
                <a:gdLst>
                  <a:gd name="T0" fmla="*/ 0 w 9"/>
                  <a:gd name="T1" fmla="*/ 0 h 9"/>
                  <a:gd name="T2" fmla="*/ 9 w 9"/>
                  <a:gd name="T3" fmla="*/ 9 h 9"/>
                  <a:gd name="T4" fmla="*/ 0 w 9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cubicBezTo>
                      <a:pt x="5" y="0"/>
                      <a:pt x="8" y="3"/>
                      <a:pt x="9" y="9"/>
                    </a:cubicBezTo>
                    <a:cubicBezTo>
                      <a:pt x="2" y="7"/>
                      <a:pt x="5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4" name="Freeform 86"/>
              <p:cNvSpPr>
                <a:spLocks/>
              </p:cNvSpPr>
              <p:nvPr/>
            </p:nvSpPr>
            <p:spPr bwMode="auto">
              <a:xfrm>
                <a:off x="1160" y="1966"/>
                <a:ext cx="13" cy="10"/>
              </a:xfrm>
              <a:custGeom>
                <a:avLst/>
                <a:gdLst>
                  <a:gd name="T0" fmla="*/ 11 w 11"/>
                  <a:gd name="T1" fmla="*/ 3 h 8"/>
                  <a:gd name="T2" fmla="*/ 0 w 11"/>
                  <a:gd name="T3" fmla="*/ 5 h 8"/>
                  <a:gd name="T4" fmla="*/ 11 w 11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3"/>
                    </a:moveTo>
                    <a:cubicBezTo>
                      <a:pt x="9" y="6"/>
                      <a:pt x="3" y="8"/>
                      <a:pt x="0" y="5"/>
                    </a:cubicBezTo>
                    <a:cubicBezTo>
                      <a:pt x="2" y="2"/>
                      <a:pt x="8" y="0"/>
                      <a:pt x="1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5" name="Freeform 87"/>
              <p:cNvSpPr>
                <a:spLocks/>
              </p:cNvSpPr>
              <p:nvPr/>
            </p:nvSpPr>
            <p:spPr bwMode="auto">
              <a:xfrm>
                <a:off x="418" y="1975"/>
                <a:ext cx="52" cy="74"/>
              </a:xfrm>
              <a:custGeom>
                <a:avLst/>
                <a:gdLst>
                  <a:gd name="T0" fmla="*/ 2 w 43"/>
                  <a:gd name="T1" fmla="*/ 0 h 61"/>
                  <a:gd name="T2" fmla="*/ 8 w 43"/>
                  <a:gd name="T3" fmla="*/ 0 h 61"/>
                  <a:gd name="T4" fmla="*/ 22 w 43"/>
                  <a:gd name="T5" fmla="*/ 41 h 61"/>
                  <a:gd name="T6" fmla="*/ 34 w 43"/>
                  <a:gd name="T7" fmla="*/ 39 h 61"/>
                  <a:gd name="T8" fmla="*/ 43 w 43"/>
                  <a:gd name="T9" fmla="*/ 50 h 61"/>
                  <a:gd name="T10" fmla="*/ 2 w 43"/>
                  <a:gd name="T1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3" y="16"/>
                      <a:pt x="17" y="29"/>
                      <a:pt x="22" y="41"/>
                    </a:cubicBezTo>
                    <a:cubicBezTo>
                      <a:pt x="30" y="44"/>
                      <a:pt x="30" y="35"/>
                      <a:pt x="34" y="39"/>
                    </a:cubicBezTo>
                    <a:cubicBezTo>
                      <a:pt x="31" y="49"/>
                      <a:pt x="40" y="47"/>
                      <a:pt x="43" y="50"/>
                    </a:cubicBezTo>
                    <a:cubicBezTo>
                      <a:pt x="16" y="61"/>
                      <a:pt x="0" y="3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6" name="Freeform 88"/>
              <p:cNvSpPr>
                <a:spLocks/>
              </p:cNvSpPr>
              <p:nvPr/>
            </p:nvSpPr>
            <p:spPr bwMode="auto">
              <a:xfrm>
                <a:off x="390" y="1981"/>
                <a:ext cx="38" cy="69"/>
              </a:xfrm>
              <a:custGeom>
                <a:avLst/>
                <a:gdLst>
                  <a:gd name="T0" fmla="*/ 4 w 31"/>
                  <a:gd name="T1" fmla="*/ 0 h 57"/>
                  <a:gd name="T2" fmla="*/ 31 w 31"/>
                  <a:gd name="T3" fmla="*/ 57 h 57"/>
                  <a:gd name="T4" fmla="*/ 4 w 31"/>
                  <a:gd name="T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7">
                    <a:moveTo>
                      <a:pt x="4" y="0"/>
                    </a:moveTo>
                    <a:cubicBezTo>
                      <a:pt x="10" y="22"/>
                      <a:pt x="21" y="39"/>
                      <a:pt x="31" y="57"/>
                    </a:cubicBezTo>
                    <a:cubicBezTo>
                      <a:pt x="12" y="47"/>
                      <a:pt x="0" y="22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7" name="Freeform 89"/>
              <p:cNvSpPr>
                <a:spLocks/>
              </p:cNvSpPr>
              <p:nvPr/>
            </p:nvSpPr>
            <p:spPr bwMode="auto">
              <a:xfrm>
                <a:off x="456" y="2009"/>
                <a:ext cx="17" cy="11"/>
              </a:xfrm>
              <a:custGeom>
                <a:avLst/>
                <a:gdLst>
                  <a:gd name="T0" fmla="*/ 2 w 14"/>
                  <a:gd name="T1" fmla="*/ 0 h 9"/>
                  <a:gd name="T2" fmla="*/ 14 w 14"/>
                  <a:gd name="T3" fmla="*/ 0 h 9"/>
                  <a:gd name="T4" fmla="*/ 0 w 14"/>
                  <a:gd name="T5" fmla="*/ 6 h 9"/>
                  <a:gd name="T6" fmla="*/ 2 w 1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2" y="0"/>
                    </a:moveTo>
                    <a:cubicBezTo>
                      <a:pt x="7" y="3"/>
                      <a:pt x="7" y="0"/>
                      <a:pt x="14" y="0"/>
                    </a:cubicBezTo>
                    <a:cubicBezTo>
                      <a:pt x="13" y="9"/>
                      <a:pt x="6" y="7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8" name="Freeform 90"/>
              <p:cNvSpPr>
                <a:spLocks/>
              </p:cNvSpPr>
              <p:nvPr/>
            </p:nvSpPr>
            <p:spPr bwMode="auto">
              <a:xfrm>
                <a:off x="1580" y="2027"/>
                <a:ext cx="43" cy="47"/>
              </a:xfrm>
              <a:custGeom>
                <a:avLst/>
                <a:gdLst>
                  <a:gd name="T0" fmla="*/ 35 w 35"/>
                  <a:gd name="T1" fmla="*/ 0 h 39"/>
                  <a:gd name="T2" fmla="*/ 0 w 35"/>
                  <a:gd name="T3" fmla="*/ 39 h 39"/>
                  <a:gd name="T4" fmla="*/ 35 w 35"/>
                  <a:gd name="T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39">
                    <a:moveTo>
                      <a:pt x="35" y="0"/>
                    </a:moveTo>
                    <a:cubicBezTo>
                      <a:pt x="35" y="17"/>
                      <a:pt x="20" y="35"/>
                      <a:pt x="0" y="39"/>
                    </a:cubicBezTo>
                    <a:cubicBezTo>
                      <a:pt x="12" y="27"/>
                      <a:pt x="29" y="18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9" name="Freeform 91"/>
              <p:cNvSpPr>
                <a:spLocks/>
              </p:cNvSpPr>
              <p:nvPr/>
            </p:nvSpPr>
            <p:spPr bwMode="auto">
              <a:xfrm>
                <a:off x="587" y="2049"/>
                <a:ext cx="6" cy="21"/>
              </a:xfrm>
              <a:custGeom>
                <a:avLst/>
                <a:gdLst>
                  <a:gd name="T0" fmla="*/ 0 w 5"/>
                  <a:gd name="T1" fmla="*/ 0 h 17"/>
                  <a:gd name="T2" fmla="*/ 4 w 5"/>
                  <a:gd name="T3" fmla="*/ 17 h 17"/>
                  <a:gd name="T4" fmla="*/ 0 w 5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7">
                    <a:moveTo>
                      <a:pt x="0" y="0"/>
                    </a:moveTo>
                    <a:cubicBezTo>
                      <a:pt x="5" y="2"/>
                      <a:pt x="4" y="10"/>
                      <a:pt x="4" y="17"/>
                    </a:cubicBezTo>
                    <a:cubicBezTo>
                      <a:pt x="0" y="14"/>
                      <a:pt x="0" y="7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0" name="Freeform 92"/>
              <p:cNvSpPr>
                <a:spLocks/>
              </p:cNvSpPr>
              <p:nvPr/>
            </p:nvSpPr>
            <p:spPr bwMode="auto">
              <a:xfrm>
                <a:off x="1620" y="2083"/>
                <a:ext cx="15" cy="7"/>
              </a:xfrm>
              <a:custGeom>
                <a:avLst/>
                <a:gdLst>
                  <a:gd name="T0" fmla="*/ 11 w 12"/>
                  <a:gd name="T1" fmla="*/ 0 h 6"/>
                  <a:gd name="T2" fmla="*/ 0 w 12"/>
                  <a:gd name="T3" fmla="*/ 5 h 6"/>
                  <a:gd name="T4" fmla="*/ 11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1" y="0"/>
                    </a:moveTo>
                    <a:cubicBezTo>
                      <a:pt x="12" y="6"/>
                      <a:pt x="6" y="5"/>
                      <a:pt x="0" y="5"/>
                    </a:cubicBezTo>
                    <a:cubicBezTo>
                      <a:pt x="3" y="3"/>
                      <a:pt x="7" y="1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1" name="Freeform 93"/>
              <p:cNvSpPr>
                <a:spLocks/>
              </p:cNvSpPr>
              <p:nvPr/>
            </p:nvSpPr>
            <p:spPr bwMode="auto">
              <a:xfrm>
                <a:off x="1581" y="2089"/>
                <a:ext cx="25" cy="15"/>
              </a:xfrm>
              <a:custGeom>
                <a:avLst/>
                <a:gdLst>
                  <a:gd name="T0" fmla="*/ 11 w 20"/>
                  <a:gd name="T1" fmla="*/ 2 h 12"/>
                  <a:gd name="T2" fmla="*/ 20 w 20"/>
                  <a:gd name="T3" fmla="*/ 6 h 12"/>
                  <a:gd name="T4" fmla="*/ 6 w 20"/>
                  <a:gd name="T5" fmla="*/ 11 h 12"/>
                  <a:gd name="T6" fmla="*/ 11 w 20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2">
                    <a:moveTo>
                      <a:pt x="11" y="2"/>
                    </a:moveTo>
                    <a:cubicBezTo>
                      <a:pt x="18" y="0"/>
                      <a:pt x="14" y="7"/>
                      <a:pt x="20" y="6"/>
                    </a:cubicBezTo>
                    <a:cubicBezTo>
                      <a:pt x="19" y="12"/>
                      <a:pt x="11" y="6"/>
                      <a:pt x="6" y="11"/>
                    </a:cubicBezTo>
                    <a:cubicBezTo>
                      <a:pt x="0" y="7"/>
                      <a:pt x="13" y="8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2" name="Freeform 94"/>
              <p:cNvSpPr>
                <a:spLocks/>
              </p:cNvSpPr>
              <p:nvPr/>
            </p:nvSpPr>
            <p:spPr bwMode="auto">
              <a:xfrm>
                <a:off x="429" y="2091"/>
                <a:ext cx="20" cy="21"/>
              </a:xfrm>
              <a:custGeom>
                <a:avLst/>
                <a:gdLst>
                  <a:gd name="T0" fmla="*/ 16 w 16"/>
                  <a:gd name="T1" fmla="*/ 9 h 17"/>
                  <a:gd name="T2" fmla="*/ 0 w 16"/>
                  <a:gd name="T3" fmla="*/ 7 h 17"/>
                  <a:gd name="T4" fmla="*/ 16 w 16"/>
                  <a:gd name="T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7">
                    <a:moveTo>
                      <a:pt x="16" y="9"/>
                    </a:moveTo>
                    <a:cubicBezTo>
                      <a:pt x="13" y="17"/>
                      <a:pt x="5" y="9"/>
                      <a:pt x="0" y="7"/>
                    </a:cubicBezTo>
                    <a:cubicBezTo>
                      <a:pt x="3" y="0"/>
                      <a:pt x="10" y="10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3" name="Freeform 95"/>
              <p:cNvSpPr>
                <a:spLocks/>
              </p:cNvSpPr>
              <p:nvPr/>
            </p:nvSpPr>
            <p:spPr bwMode="auto">
              <a:xfrm>
                <a:off x="373" y="2117"/>
                <a:ext cx="12" cy="7"/>
              </a:xfrm>
              <a:custGeom>
                <a:avLst/>
                <a:gdLst>
                  <a:gd name="T0" fmla="*/ 0 w 10"/>
                  <a:gd name="T1" fmla="*/ 1 h 6"/>
                  <a:gd name="T2" fmla="*/ 9 w 10"/>
                  <a:gd name="T3" fmla="*/ 6 h 6"/>
                  <a:gd name="T4" fmla="*/ 0 w 10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0" y="1"/>
                    </a:moveTo>
                    <a:cubicBezTo>
                      <a:pt x="5" y="0"/>
                      <a:pt x="10" y="0"/>
                      <a:pt x="9" y="6"/>
                    </a:cubicBezTo>
                    <a:cubicBezTo>
                      <a:pt x="5" y="6"/>
                      <a:pt x="0" y="6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4" name="Freeform 96"/>
              <p:cNvSpPr>
                <a:spLocks/>
              </p:cNvSpPr>
              <p:nvPr/>
            </p:nvSpPr>
            <p:spPr bwMode="auto">
              <a:xfrm>
                <a:off x="373" y="2134"/>
                <a:ext cx="63" cy="34"/>
              </a:xfrm>
              <a:custGeom>
                <a:avLst/>
                <a:gdLst>
                  <a:gd name="T0" fmla="*/ 52 w 52"/>
                  <a:gd name="T1" fmla="*/ 24 h 28"/>
                  <a:gd name="T2" fmla="*/ 7 w 52"/>
                  <a:gd name="T3" fmla="*/ 17 h 28"/>
                  <a:gd name="T4" fmla="*/ 0 w 52"/>
                  <a:gd name="T5" fmla="*/ 6 h 28"/>
                  <a:gd name="T6" fmla="*/ 52 w 52"/>
                  <a:gd name="T7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52" y="24"/>
                    </a:moveTo>
                    <a:cubicBezTo>
                      <a:pt x="38" y="28"/>
                      <a:pt x="20" y="20"/>
                      <a:pt x="7" y="17"/>
                    </a:cubicBezTo>
                    <a:cubicBezTo>
                      <a:pt x="5" y="11"/>
                      <a:pt x="8" y="8"/>
                      <a:pt x="0" y="6"/>
                    </a:cubicBezTo>
                    <a:cubicBezTo>
                      <a:pt x="15" y="0"/>
                      <a:pt x="31" y="24"/>
                      <a:pt x="5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5" name="Freeform 97"/>
              <p:cNvSpPr>
                <a:spLocks/>
              </p:cNvSpPr>
              <p:nvPr/>
            </p:nvSpPr>
            <p:spPr bwMode="auto">
              <a:xfrm>
                <a:off x="614" y="2152"/>
                <a:ext cx="3" cy="24"/>
              </a:xfrm>
              <a:custGeom>
                <a:avLst/>
                <a:gdLst>
                  <a:gd name="T0" fmla="*/ 0 w 3"/>
                  <a:gd name="T1" fmla="*/ 2 h 20"/>
                  <a:gd name="T2" fmla="*/ 3 w 3"/>
                  <a:gd name="T3" fmla="*/ 20 h 20"/>
                  <a:gd name="T4" fmla="*/ 0 w 3"/>
                  <a:gd name="T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0">
                    <a:moveTo>
                      <a:pt x="0" y="2"/>
                    </a:moveTo>
                    <a:cubicBezTo>
                      <a:pt x="2" y="0"/>
                      <a:pt x="3" y="14"/>
                      <a:pt x="3" y="20"/>
                    </a:cubicBezTo>
                    <a:cubicBezTo>
                      <a:pt x="0" y="16"/>
                      <a:pt x="0" y="9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6" name="Freeform 98"/>
              <p:cNvSpPr>
                <a:spLocks/>
              </p:cNvSpPr>
              <p:nvPr/>
            </p:nvSpPr>
            <p:spPr bwMode="auto">
              <a:xfrm>
                <a:off x="298" y="2155"/>
                <a:ext cx="39" cy="94"/>
              </a:xfrm>
              <a:custGeom>
                <a:avLst/>
                <a:gdLst>
                  <a:gd name="T0" fmla="*/ 19 w 32"/>
                  <a:gd name="T1" fmla="*/ 0 h 78"/>
                  <a:gd name="T2" fmla="*/ 32 w 32"/>
                  <a:gd name="T3" fmla="*/ 0 h 78"/>
                  <a:gd name="T4" fmla="*/ 28 w 32"/>
                  <a:gd name="T5" fmla="*/ 28 h 78"/>
                  <a:gd name="T6" fmla="*/ 0 w 32"/>
                  <a:gd name="T7" fmla="*/ 78 h 78"/>
                  <a:gd name="T8" fmla="*/ 19 w 32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8">
                    <a:moveTo>
                      <a:pt x="19" y="0"/>
                    </a:moveTo>
                    <a:cubicBezTo>
                      <a:pt x="24" y="0"/>
                      <a:pt x="28" y="0"/>
                      <a:pt x="32" y="0"/>
                    </a:cubicBezTo>
                    <a:cubicBezTo>
                      <a:pt x="32" y="10"/>
                      <a:pt x="27" y="16"/>
                      <a:pt x="28" y="28"/>
                    </a:cubicBezTo>
                    <a:cubicBezTo>
                      <a:pt x="8" y="34"/>
                      <a:pt x="13" y="65"/>
                      <a:pt x="0" y="78"/>
                    </a:cubicBezTo>
                    <a:cubicBezTo>
                      <a:pt x="2" y="53"/>
                      <a:pt x="17" y="26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7" name="Freeform 99"/>
              <p:cNvSpPr>
                <a:spLocks/>
              </p:cNvSpPr>
              <p:nvPr/>
            </p:nvSpPr>
            <p:spPr bwMode="auto">
              <a:xfrm>
                <a:off x="451" y="2159"/>
                <a:ext cx="30" cy="14"/>
              </a:xfrm>
              <a:custGeom>
                <a:avLst/>
                <a:gdLst>
                  <a:gd name="T0" fmla="*/ 0 w 25"/>
                  <a:gd name="T1" fmla="*/ 3 h 11"/>
                  <a:gd name="T2" fmla="*/ 25 w 25"/>
                  <a:gd name="T3" fmla="*/ 10 h 11"/>
                  <a:gd name="T4" fmla="*/ 0 w 25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1">
                    <a:moveTo>
                      <a:pt x="0" y="3"/>
                    </a:moveTo>
                    <a:cubicBezTo>
                      <a:pt x="7" y="0"/>
                      <a:pt x="23" y="7"/>
                      <a:pt x="25" y="10"/>
                    </a:cubicBezTo>
                    <a:cubicBezTo>
                      <a:pt x="14" y="11"/>
                      <a:pt x="1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8" name="Freeform 100"/>
              <p:cNvSpPr>
                <a:spLocks/>
              </p:cNvSpPr>
              <p:nvPr/>
            </p:nvSpPr>
            <p:spPr bwMode="auto">
              <a:xfrm>
                <a:off x="594" y="2172"/>
                <a:ext cx="12" cy="14"/>
              </a:xfrm>
              <a:custGeom>
                <a:avLst/>
                <a:gdLst>
                  <a:gd name="T0" fmla="*/ 7 w 10"/>
                  <a:gd name="T1" fmla="*/ 0 h 12"/>
                  <a:gd name="T2" fmla="*/ 10 w 10"/>
                  <a:gd name="T3" fmla="*/ 12 h 12"/>
                  <a:gd name="T4" fmla="*/ 3 w 10"/>
                  <a:gd name="T5" fmla="*/ 11 h 12"/>
                  <a:gd name="T6" fmla="*/ 0 w 10"/>
                  <a:gd name="T7" fmla="*/ 5 h 12"/>
                  <a:gd name="T8" fmla="*/ 7 w 1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7" y="0"/>
                    </a:moveTo>
                    <a:cubicBezTo>
                      <a:pt x="10" y="3"/>
                      <a:pt x="10" y="8"/>
                      <a:pt x="10" y="12"/>
                    </a:cubicBezTo>
                    <a:cubicBezTo>
                      <a:pt x="9" y="11"/>
                      <a:pt x="6" y="11"/>
                      <a:pt x="3" y="11"/>
                    </a:cubicBezTo>
                    <a:cubicBezTo>
                      <a:pt x="4" y="7"/>
                      <a:pt x="3" y="5"/>
                      <a:pt x="0" y="5"/>
                    </a:cubicBezTo>
                    <a:cubicBezTo>
                      <a:pt x="0" y="2"/>
                      <a:pt x="6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9" name="Freeform 101"/>
              <p:cNvSpPr>
                <a:spLocks/>
              </p:cNvSpPr>
              <p:nvPr/>
            </p:nvSpPr>
            <p:spPr bwMode="auto">
              <a:xfrm>
                <a:off x="1614" y="2197"/>
                <a:ext cx="34" cy="23"/>
              </a:xfrm>
              <a:custGeom>
                <a:avLst/>
                <a:gdLst>
                  <a:gd name="T0" fmla="*/ 23 w 28"/>
                  <a:gd name="T1" fmla="*/ 0 h 19"/>
                  <a:gd name="T2" fmla="*/ 0 w 28"/>
                  <a:gd name="T3" fmla="*/ 16 h 19"/>
                  <a:gd name="T4" fmla="*/ 23 w 28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23" y="0"/>
                    </a:moveTo>
                    <a:cubicBezTo>
                      <a:pt x="28" y="4"/>
                      <a:pt x="14" y="19"/>
                      <a:pt x="0" y="16"/>
                    </a:cubicBezTo>
                    <a:cubicBezTo>
                      <a:pt x="3" y="7"/>
                      <a:pt x="16" y="7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0" name="Freeform 102"/>
              <p:cNvSpPr>
                <a:spLocks/>
              </p:cNvSpPr>
              <p:nvPr/>
            </p:nvSpPr>
            <p:spPr bwMode="auto">
              <a:xfrm>
                <a:off x="1515" y="2210"/>
                <a:ext cx="9" cy="34"/>
              </a:xfrm>
              <a:custGeom>
                <a:avLst/>
                <a:gdLst>
                  <a:gd name="T0" fmla="*/ 4 w 8"/>
                  <a:gd name="T1" fmla="*/ 0 h 28"/>
                  <a:gd name="T2" fmla="*/ 4 w 8"/>
                  <a:gd name="T3" fmla="*/ 9 h 28"/>
                  <a:gd name="T4" fmla="*/ 4 w 8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8">
                    <a:moveTo>
                      <a:pt x="4" y="0"/>
                    </a:moveTo>
                    <a:cubicBezTo>
                      <a:pt x="8" y="1"/>
                      <a:pt x="5" y="8"/>
                      <a:pt x="4" y="9"/>
                    </a:cubicBezTo>
                    <a:cubicBezTo>
                      <a:pt x="4" y="28"/>
                      <a:pt x="0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1" name="Freeform 103"/>
              <p:cNvSpPr>
                <a:spLocks/>
              </p:cNvSpPr>
              <p:nvPr/>
            </p:nvSpPr>
            <p:spPr bwMode="auto">
              <a:xfrm>
                <a:off x="1500" y="2234"/>
                <a:ext cx="15" cy="15"/>
              </a:xfrm>
              <a:custGeom>
                <a:avLst/>
                <a:gdLst>
                  <a:gd name="T0" fmla="*/ 3 w 12"/>
                  <a:gd name="T1" fmla="*/ 1 h 13"/>
                  <a:gd name="T2" fmla="*/ 12 w 12"/>
                  <a:gd name="T3" fmla="*/ 6 h 13"/>
                  <a:gd name="T4" fmla="*/ 5 w 12"/>
                  <a:gd name="T5" fmla="*/ 13 h 13"/>
                  <a:gd name="T6" fmla="*/ 3 w 12"/>
                  <a:gd name="T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3">
                    <a:moveTo>
                      <a:pt x="3" y="1"/>
                    </a:moveTo>
                    <a:cubicBezTo>
                      <a:pt x="8" y="0"/>
                      <a:pt x="7" y="6"/>
                      <a:pt x="12" y="6"/>
                    </a:cubicBezTo>
                    <a:cubicBezTo>
                      <a:pt x="12" y="11"/>
                      <a:pt x="10" y="13"/>
                      <a:pt x="5" y="13"/>
                    </a:cubicBezTo>
                    <a:cubicBezTo>
                      <a:pt x="4" y="7"/>
                      <a:pt x="0" y="7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2" name="Freeform 104"/>
              <p:cNvSpPr>
                <a:spLocks/>
              </p:cNvSpPr>
              <p:nvPr/>
            </p:nvSpPr>
            <p:spPr bwMode="auto">
              <a:xfrm>
                <a:off x="337" y="2269"/>
                <a:ext cx="7" cy="33"/>
              </a:xfrm>
              <a:custGeom>
                <a:avLst/>
                <a:gdLst>
                  <a:gd name="T0" fmla="*/ 3 w 6"/>
                  <a:gd name="T1" fmla="*/ 0 h 27"/>
                  <a:gd name="T2" fmla="*/ 3 w 6"/>
                  <a:gd name="T3" fmla="*/ 27 h 27"/>
                  <a:gd name="T4" fmla="*/ 3 w 6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7">
                    <a:moveTo>
                      <a:pt x="3" y="0"/>
                    </a:moveTo>
                    <a:cubicBezTo>
                      <a:pt x="6" y="6"/>
                      <a:pt x="5" y="16"/>
                      <a:pt x="3" y="27"/>
                    </a:cubicBezTo>
                    <a:cubicBezTo>
                      <a:pt x="0" y="22"/>
                      <a:pt x="1" y="5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3" name="Freeform 105"/>
              <p:cNvSpPr>
                <a:spLocks/>
              </p:cNvSpPr>
              <p:nvPr/>
            </p:nvSpPr>
            <p:spPr bwMode="auto">
              <a:xfrm>
                <a:off x="1626" y="2297"/>
                <a:ext cx="16" cy="26"/>
              </a:xfrm>
              <a:custGeom>
                <a:avLst/>
                <a:gdLst>
                  <a:gd name="T0" fmla="*/ 8 w 13"/>
                  <a:gd name="T1" fmla="*/ 0 h 22"/>
                  <a:gd name="T2" fmla="*/ 6 w 13"/>
                  <a:gd name="T3" fmla="*/ 22 h 22"/>
                  <a:gd name="T4" fmla="*/ 3 w 13"/>
                  <a:gd name="T5" fmla="*/ 6 h 22"/>
                  <a:gd name="T6" fmla="*/ 8 w 13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2">
                    <a:moveTo>
                      <a:pt x="8" y="0"/>
                    </a:moveTo>
                    <a:cubicBezTo>
                      <a:pt x="13" y="6"/>
                      <a:pt x="8" y="17"/>
                      <a:pt x="6" y="22"/>
                    </a:cubicBezTo>
                    <a:cubicBezTo>
                      <a:pt x="0" y="21"/>
                      <a:pt x="3" y="11"/>
                      <a:pt x="3" y="6"/>
                    </a:cubicBezTo>
                    <a:cubicBezTo>
                      <a:pt x="4" y="4"/>
                      <a:pt x="9" y="5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4" name="Freeform 106"/>
              <p:cNvSpPr>
                <a:spLocks/>
              </p:cNvSpPr>
              <p:nvPr/>
            </p:nvSpPr>
            <p:spPr bwMode="auto">
              <a:xfrm>
                <a:off x="1523" y="2302"/>
                <a:ext cx="16" cy="29"/>
              </a:xfrm>
              <a:custGeom>
                <a:avLst/>
                <a:gdLst>
                  <a:gd name="T0" fmla="*/ 9 w 13"/>
                  <a:gd name="T1" fmla="*/ 0 h 24"/>
                  <a:gd name="T2" fmla="*/ 13 w 13"/>
                  <a:gd name="T3" fmla="*/ 19 h 24"/>
                  <a:gd name="T4" fmla="*/ 0 w 13"/>
                  <a:gd name="T5" fmla="*/ 23 h 24"/>
                  <a:gd name="T6" fmla="*/ 9 w 13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9" y="0"/>
                    </a:moveTo>
                    <a:cubicBezTo>
                      <a:pt x="10" y="6"/>
                      <a:pt x="11" y="11"/>
                      <a:pt x="13" y="19"/>
                    </a:cubicBezTo>
                    <a:cubicBezTo>
                      <a:pt x="7" y="19"/>
                      <a:pt x="7" y="24"/>
                      <a:pt x="0" y="23"/>
                    </a:cubicBezTo>
                    <a:cubicBezTo>
                      <a:pt x="2" y="10"/>
                      <a:pt x="5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5" name="Freeform 107"/>
              <p:cNvSpPr>
                <a:spLocks/>
              </p:cNvSpPr>
              <p:nvPr/>
            </p:nvSpPr>
            <p:spPr bwMode="auto">
              <a:xfrm>
                <a:off x="578" y="2319"/>
                <a:ext cx="24" cy="85"/>
              </a:xfrm>
              <a:custGeom>
                <a:avLst/>
                <a:gdLst>
                  <a:gd name="T0" fmla="*/ 4 w 19"/>
                  <a:gd name="T1" fmla="*/ 0 h 70"/>
                  <a:gd name="T2" fmla="*/ 6 w 19"/>
                  <a:gd name="T3" fmla="*/ 70 h 70"/>
                  <a:gd name="T4" fmla="*/ 4 w 19"/>
                  <a:gd name="T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0">
                    <a:moveTo>
                      <a:pt x="4" y="0"/>
                    </a:moveTo>
                    <a:cubicBezTo>
                      <a:pt x="19" y="19"/>
                      <a:pt x="6" y="43"/>
                      <a:pt x="6" y="70"/>
                    </a:cubicBezTo>
                    <a:cubicBezTo>
                      <a:pt x="0" y="48"/>
                      <a:pt x="0" y="23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6" name="Freeform 108"/>
              <p:cNvSpPr>
                <a:spLocks noEditPoints="1"/>
              </p:cNvSpPr>
              <p:nvPr/>
            </p:nvSpPr>
            <p:spPr bwMode="auto">
              <a:xfrm>
                <a:off x="382" y="3033"/>
                <a:ext cx="238" cy="123"/>
              </a:xfrm>
              <a:custGeom>
                <a:avLst/>
                <a:gdLst>
                  <a:gd name="T0" fmla="*/ 155 w 196"/>
                  <a:gd name="T1" fmla="*/ 67 h 101"/>
                  <a:gd name="T2" fmla="*/ 125 w 196"/>
                  <a:gd name="T3" fmla="*/ 62 h 101"/>
                  <a:gd name="T4" fmla="*/ 196 w 196"/>
                  <a:gd name="T5" fmla="*/ 101 h 101"/>
                  <a:gd name="T6" fmla="*/ 52 w 196"/>
                  <a:gd name="T7" fmla="*/ 51 h 101"/>
                  <a:gd name="T8" fmla="*/ 52 w 196"/>
                  <a:gd name="T9" fmla="*/ 42 h 101"/>
                  <a:gd name="T10" fmla="*/ 82 w 196"/>
                  <a:gd name="T11" fmla="*/ 49 h 101"/>
                  <a:gd name="T12" fmla="*/ 0 w 196"/>
                  <a:gd name="T13" fmla="*/ 26 h 101"/>
                  <a:gd name="T14" fmla="*/ 27 w 196"/>
                  <a:gd name="T15" fmla="*/ 0 h 101"/>
                  <a:gd name="T16" fmla="*/ 57 w 196"/>
                  <a:gd name="T17" fmla="*/ 7 h 101"/>
                  <a:gd name="T18" fmla="*/ 80 w 196"/>
                  <a:gd name="T19" fmla="*/ 17 h 101"/>
                  <a:gd name="T20" fmla="*/ 86 w 196"/>
                  <a:gd name="T21" fmla="*/ 30 h 101"/>
                  <a:gd name="T22" fmla="*/ 155 w 196"/>
                  <a:gd name="T23" fmla="*/ 67 h 101"/>
                  <a:gd name="T24" fmla="*/ 120 w 196"/>
                  <a:gd name="T25" fmla="*/ 60 h 101"/>
                  <a:gd name="T26" fmla="*/ 89 w 196"/>
                  <a:gd name="T27" fmla="*/ 53 h 101"/>
                  <a:gd name="T28" fmla="*/ 120 w 196"/>
                  <a:gd name="T29" fmla="*/ 6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6" h="101">
                    <a:moveTo>
                      <a:pt x="155" y="67"/>
                    </a:moveTo>
                    <a:cubicBezTo>
                      <a:pt x="148" y="70"/>
                      <a:pt x="134" y="63"/>
                      <a:pt x="125" y="62"/>
                    </a:cubicBezTo>
                    <a:cubicBezTo>
                      <a:pt x="140" y="77"/>
                      <a:pt x="177" y="85"/>
                      <a:pt x="196" y="101"/>
                    </a:cubicBezTo>
                    <a:cubicBezTo>
                      <a:pt x="153" y="87"/>
                      <a:pt x="109" y="58"/>
                      <a:pt x="52" y="51"/>
                    </a:cubicBezTo>
                    <a:cubicBezTo>
                      <a:pt x="52" y="48"/>
                      <a:pt x="52" y="45"/>
                      <a:pt x="52" y="42"/>
                    </a:cubicBezTo>
                    <a:cubicBezTo>
                      <a:pt x="64" y="42"/>
                      <a:pt x="73" y="53"/>
                      <a:pt x="82" y="49"/>
                    </a:cubicBezTo>
                    <a:cubicBezTo>
                      <a:pt x="59" y="37"/>
                      <a:pt x="26" y="35"/>
                      <a:pt x="0" y="26"/>
                    </a:cubicBezTo>
                    <a:cubicBezTo>
                      <a:pt x="2" y="18"/>
                      <a:pt x="17" y="1"/>
                      <a:pt x="27" y="0"/>
                    </a:cubicBezTo>
                    <a:cubicBezTo>
                      <a:pt x="27" y="0"/>
                      <a:pt x="52" y="5"/>
                      <a:pt x="57" y="7"/>
                    </a:cubicBezTo>
                    <a:cubicBezTo>
                      <a:pt x="65" y="9"/>
                      <a:pt x="72" y="20"/>
                      <a:pt x="80" y="17"/>
                    </a:cubicBezTo>
                    <a:cubicBezTo>
                      <a:pt x="81" y="22"/>
                      <a:pt x="83" y="24"/>
                      <a:pt x="86" y="30"/>
                    </a:cubicBezTo>
                    <a:cubicBezTo>
                      <a:pt x="120" y="35"/>
                      <a:pt x="134" y="49"/>
                      <a:pt x="155" y="67"/>
                    </a:cubicBezTo>
                    <a:close/>
                    <a:moveTo>
                      <a:pt x="120" y="60"/>
                    </a:moveTo>
                    <a:cubicBezTo>
                      <a:pt x="109" y="60"/>
                      <a:pt x="93" y="48"/>
                      <a:pt x="89" y="53"/>
                    </a:cubicBezTo>
                    <a:cubicBezTo>
                      <a:pt x="100" y="54"/>
                      <a:pt x="109" y="66"/>
                      <a:pt x="12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7" name="Freeform 109"/>
              <p:cNvSpPr>
                <a:spLocks/>
              </p:cNvSpPr>
              <p:nvPr/>
            </p:nvSpPr>
            <p:spPr bwMode="auto">
              <a:xfrm>
                <a:off x="1535" y="3048"/>
                <a:ext cx="29" cy="29"/>
              </a:xfrm>
              <a:custGeom>
                <a:avLst/>
                <a:gdLst>
                  <a:gd name="T0" fmla="*/ 5 w 24"/>
                  <a:gd name="T1" fmla="*/ 0 h 24"/>
                  <a:gd name="T2" fmla="*/ 24 w 24"/>
                  <a:gd name="T3" fmla="*/ 12 h 24"/>
                  <a:gd name="T4" fmla="*/ 6 w 24"/>
                  <a:gd name="T5" fmla="*/ 14 h 24"/>
                  <a:gd name="T6" fmla="*/ 5 w 2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4">
                    <a:moveTo>
                      <a:pt x="5" y="0"/>
                    </a:moveTo>
                    <a:cubicBezTo>
                      <a:pt x="13" y="2"/>
                      <a:pt x="13" y="13"/>
                      <a:pt x="24" y="12"/>
                    </a:cubicBezTo>
                    <a:cubicBezTo>
                      <a:pt x="23" y="24"/>
                      <a:pt x="15" y="11"/>
                      <a:pt x="6" y="14"/>
                    </a:cubicBezTo>
                    <a:cubicBezTo>
                      <a:pt x="6" y="9"/>
                      <a:pt x="0" y="5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8" name="Freeform 110"/>
              <p:cNvSpPr>
                <a:spLocks/>
              </p:cNvSpPr>
              <p:nvPr/>
            </p:nvSpPr>
            <p:spPr bwMode="auto">
              <a:xfrm>
                <a:off x="383" y="3086"/>
                <a:ext cx="29" cy="28"/>
              </a:xfrm>
              <a:custGeom>
                <a:avLst/>
                <a:gdLst>
                  <a:gd name="T0" fmla="*/ 24 w 24"/>
                  <a:gd name="T1" fmla="*/ 0 h 23"/>
                  <a:gd name="T2" fmla="*/ 1 w 24"/>
                  <a:gd name="T3" fmla="*/ 23 h 23"/>
                  <a:gd name="T4" fmla="*/ 3 w 24"/>
                  <a:gd name="T5" fmla="*/ 9 h 23"/>
                  <a:gd name="T6" fmla="*/ 24 w 24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3">
                    <a:moveTo>
                      <a:pt x="24" y="0"/>
                    </a:moveTo>
                    <a:cubicBezTo>
                      <a:pt x="19" y="10"/>
                      <a:pt x="11" y="18"/>
                      <a:pt x="1" y="23"/>
                    </a:cubicBezTo>
                    <a:cubicBezTo>
                      <a:pt x="0" y="17"/>
                      <a:pt x="2" y="13"/>
                      <a:pt x="3" y="9"/>
                    </a:cubicBezTo>
                    <a:cubicBezTo>
                      <a:pt x="13" y="9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9" name="Freeform 111"/>
              <p:cNvSpPr>
                <a:spLocks/>
              </p:cNvSpPr>
              <p:nvPr/>
            </p:nvSpPr>
            <p:spPr bwMode="auto">
              <a:xfrm>
                <a:off x="653" y="3090"/>
                <a:ext cx="7" cy="39"/>
              </a:xfrm>
              <a:custGeom>
                <a:avLst/>
                <a:gdLst>
                  <a:gd name="T0" fmla="*/ 5 w 6"/>
                  <a:gd name="T1" fmla="*/ 31 h 32"/>
                  <a:gd name="T2" fmla="*/ 2 w 6"/>
                  <a:gd name="T3" fmla="*/ 24 h 32"/>
                  <a:gd name="T4" fmla="*/ 5 w 6"/>
                  <a:gd name="T5" fmla="*/ 2 h 32"/>
                  <a:gd name="T6" fmla="*/ 5 w 6"/>
                  <a:gd name="T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2">
                    <a:moveTo>
                      <a:pt x="5" y="31"/>
                    </a:moveTo>
                    <a:cubicBezTo>
                      <a:pt x="0" y="32"/>
                      <a:pt x="6" y="22"/>
                      <a:pt x="2" y="24"/>
                    </a:cubicBezTo>
                    <a:cubicBezTo>
                      <a:pt x="5" y="20"/>
                      <a:pt x="1" y="0"/>
                      <a:pt x="5" y="2"/>
                    </a:cubicBezTo>
                    <a:cubicBezTo>
                      <a:pt x="5" y="12"/>
                      <a:pt x="5" y="21"/>
                      <a:pt x="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0" name="Freeform 112"/>
              <p:cNvSpPr>
                <a:spLocks/>
              </p:cNvSpPr>
              <p:nvPr/>
            </p:nvSpPr>
            <p:spPr bwMode="auto">
              <a:xfrm>
                <a:off x="679" y="3151"/>
                <a:ext cx="12" cy="24"/>
              </a:xfrm>
              <a:custGeom>
                <a:avLst/>
                <a:gdLst>
                  <a:gd name="T0" fmla="*/ 1 w 10"/>
                  <a:gd name="T1" fmla="*/ 0 h 20"/>
                  <a:gd name="T2" fmla="*/ 10 w 10"/>
                  <a:gd name="T3" fmla="*/ 20 h 20"/>
                  <a:gd name="T4" fmla="*/ 1 w 10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0">
                    <a:moveTo>
                      <a:pt x="1" y="0"/>
                    </a:moveTo>
                    <a:cubicBezTo>
                      <a:pt x="6" y="5"/>
                      <a:pt x="6" y="14"/>
                      <a:pt x="10" y="20"/>
                    </a:cubicBezTo>
                    <a:cubicBezTo>
                      <a:pt x="0" y="20"/>
                      <a:pt x="2" y="9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1" name="Freeform 113"/>
              <p:cNvSpPr>
                <a:spLocks/>
              </p:cNvSpPr>
              <p:nvPr/>
            </p:nvSpPr>
            <p:spPr bwMode="auto">
              <a:xfrm>
                <a:off x="302" y="3170"/>
                <a:ext cx="105" cy="88"/>
              </a:xfrm>
              <a:custGeom>
                <a:avLst/>
                <a:gdLst>
                  <a:gd name="T0" fmla="*/ 56 w 87"/>
                  <a:gd name="T1" fmla="*/ 0 h 72"/>
                  <a:gd name="T2" fmla="*/ 65 w 87"/>
                  <a:gd name="T3" fmla="*/ 9 h 72"/>
                  <a:gd name="T4" fmla="*/ 52 w 87"/>
                  <a:gd name="T5" fmla="*/ 31 h 72"/>
                  <a:gd name="T6" fmla="*/ 86 w 87"/>
                  <a:gd name="T7" fmla="*/ 27 h 72"/>
                  <a:gd name="T8" fmla="*/ 41 w 87"/>
                  <a:gd name="T9" fmla="*/ 52 h 72"/>
                  <a:gd name="T10" fmla="*/ 41 w 87"/>
                  <a:gd name="T11" fmla="*/ 41 h 72"/>
                  <a:gd name="T12" fmla="*/ 38 w 87"/>
                  <a:gd name="T13" fmla="*/ 50 h 72"/>
                  <a:gd name="T14" fmla="*/ 0 w 87"/>
                  <a:gd name="T15" fmla="*/ 72 h 72"/>
                  <a:gd name="T16" fmla="*/ 56 w 87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72">
                    <a:moveTo>
                      <a:pt x="56" y="0"/>
                    </a:moveTo>
                    <a:cubicBezTo>
                      <a:pt x="60" y="2"/>
                      <a:pt x="61" y="7"/>
                      <a:pt x="65" y="9"/>
                    </a:cubicBezTo>
                    <a:cubicBezTo>
                      <a:pt x="61" y="17"/>
                      <a:pt x="55" y="23"/>
                      <a:pt x="52" y="31"/>
                    </a:cubicBezTo>
                    <a:cubicBezTo>
                      <a:pt x="62" y="31"/>
                      <a:pt x="79" y="33"/>
                      <a:pt x="86" y="27"/>
                    </a:cubicBezTo>
                    <a:cubicBezTo>
                      <a:pt x="87" y="40"/>
                      <a:pt x="59" y="51"/>
                      <a:pt x="41" y="52"/>
                    </a:cubicBezTo>
                    <a:cubicBezTo>
                      <a:pt x="40" y="47"/>
                      <a:pt x="45" y="45"/>
                      <a:pt x="41" y="41"/>
                    </a:cubicBezTo>
                    <a:cubicBezTo>
                      <a:pt x="34" y="41"/>
                      <a:pt x="32" y="50"/>
                      <a:pt x="38" y="50"/>
                    </a:cubicBezTo>
                    <a:cubicBezTo>
                      <a:pt x="31" y="63"/>
                      <a:pt x="18" y="70"/>
                      <a:pt x="0" y="72"/>
                    </a:cubicBezTo>
                    <a:cubicBezTo>
                      <a:pt x="16" y="46"/>
                      <a:pt x="37" y="24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2" name="Freeform 114"/>
              <p:cNvSpPr>
                <a:spLocks/>
              </p:cNvSpPr>
              <p:nvPr/>
            </p:nvSpPr>
            <p:spPr bwMode="auto">
              <a:xfrm>
                <a:off x="461" y="3203"/>
                <a:ext cx="36" cy="21"/>
              </a:xfrm>
              <a:custGeom>
                <a:avLst/>
                <a:gdLst>
                  <a:gd name="T0" fmla="*/ 1 w 30"/>
                  <a:gd name="T1" fmla="*/ 2 h 17"/>
                  <a:gd name="T2" fmla="*/ 30 w 30"/>
                  <a:gd name="T3" fmla="*/ 6 h 17"/>
                  <a:gd name="T4" fmla="*/ 1 w 30"/>
                  <a:gd name="T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7">
                    <a:moveTo>
                      <a:pt x="1" y="2"/>
                    </a:moveTo>
                    <a:cubicBezTo>
                      <a:pt x="12" y="6"/>
                      <a:pt x="21" y="0"/>
                      <a:pt x="30" y="6"/>
                    </a:cubicBezTo>
                    <a:cubicBezTo>
                      <a:pt x="24" y="9"/>
                      <a:pt x="0" y="17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3" name="Freeform 115"/>
              <p:cNvSpPr>
                <a:spLocks/>
              </p:cNvSpPr>
              <p:nvPr/>
            </p:nvSpPr>
            <p:spPr bwMode="auto">
              <a:xfrm>
                <a:off x="711" y="3212"/>
                <a:ext cx="58" cy="41"/>
              </a:xfrm>
              <a:custGeom>
                <a:avLst/>
                <a:gdLst>
                  <a:gd name="T0" fmla="*/ 0 w 48"/>
                  <a:gd name="T1" fmla="*/ 0 h 34"/>
                  <a:gd name="T2" fmla="*/ 48 w 48"/>
                  <a:gd name="T3" fmla="*/ 29 h 34"/>
                  <a:gd name="T4" fmla="*/ 14 w 48"/>
                  <a:gd name="T5" fmla="*/ 11 h 34"/>
                  <a:gd name="T6" fmla="*/ 0 w 48"/>
                  <a:gd name="T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4">
                    <a:moveTo>
                      <a:pt x="0" y="0"/>
                    </a:moveTo>
                    <a:cubicBezTo>
                      <a:pt x="18" y="8"/>
                      <a:pt x="32" y="20"/>
                      <a:pt x="48" y="29"/>
                    </a:cubicBezTo>
                    <a:cubicBezTo>
                      <a:pt x="39" y="34"/>
                      <a:pt x="18" y="22"/>
                      <a:pt x="14" y="11"/>
                    </a:cubicBezTo>
                    <a:cubicBezTo>
                      <a:pt x="6" y="14"/>
                      <a:pt x="1" y="9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4" name="Freeform 116"/>
              <p:cNvSpPr>
                <a:spLocks noEditPoints="1"/>
              </p:cNvSpPr>
              <p:nvPr/>
            </p:nvSpPr>
            <p:spPr bwMode="auto">
              <a:xfrm>
                <a:off x="351" y="3214"/>
                <a:ext cx="271" cy="57"/>
              </a:xfrm>
              <a:custGeom>
                <a:avLst/>
                <a:gdLst>
                  <a:gd name="T0" fmla="*/ 223 w 223"/>
                  <a:gd name="T1" fmla="*/ 0 h 47"/>
                  <a:gd name="T2" fmla="*/ 214 w 223"/>
                  <a:gd name="T3" fmla="*/ 23 h 47"/>
                  <a:gd name="T4" fmla="*/ 150 w 223"/>
                  <a:gd name="T5" fmla="*/ 25 h 47"/>
                  <a:gd name="T6" fmla="*/ 143 w 223"/>
                  <a:gd name="T7" fmla="*/ 32 h 47"/>
                  <a:gd name="T8" fmla="*/ 79 w 223"/>
                  <a:gd name="T9" fmla="*/ 45 h 47"/>
                  <a:gd name="T10" fmla="*/ 0 w 223"/>
                  <a:gd name="T11" fmla="*/ 37 h 47"/>
                  <a:gd name="T12" fmla="*/ 123 w 223"/>
                  <a:gd name="T13" fmla="*/ 16 h 47"/>
                  <a:gd name="T14" fmla="*/ 125 w 223"/>
                  <a:gd name="T15" fmla="*/ 11 h 47"/>
                  <a:gd name="T16" fmla="*/ 223 w 223"/>
                  <a:gd name="T17" fmla="*/ 0 h 47"/>
                  <a:gd name="T18" fmla="*/ 143 w 223"/>
                  <a:gd name="T19" fmla="*/ 23 h 47"/>
                  <a:gd name="T20" fmla="*/ 127 w 223"/>
                  <a:gd name="T21" fmla="*/ 16 h 47"/>
                  <a:gd name="T22" fmla="*/ 143 w 223"/>
                  <a:gd name="T23" fmla="*/ 2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47">
                    <a:moveTo>
                      <a:pt x="223" y="0"/>
                    </a:moveTo>
                    <a:cubicBezTo>
                      <a:pt x="223" y="11"/>
                      <a:pt x="217" y="16"/>
                      <a:pt x="214" y="23"/>
                    </a:cubicBezTo>
                    <a:cubicBezTo>
                      <a:pt x="189" y="25"/>
                      <a:pt x="171" y="28"/>
                      <a:pt x="150" y="25"/>
                    </a:cubicBezTo>
                    <a:cubicBezTo>
                      <a:pt x="143" y="23"/>
                      <a:pt x="148" y="33"/>
                      <a:pt x="143" y="32"/>
                    </a:cubicBezTo>
                    <a:cubicBezTo>
                      <a:pt x="117" y="27"/>
                      <a:pt x="99" y="42"/>
                      <a:pt x="79" y="45"/>
                    </a:cubicBezTo>
                    <a:cubicBezTo>
                      <a:pt x="54" y="47"/>
                      <a:pt x="30" y="33"/>
                      <a:pt x="0" y="37"/>
                    </a:cubicBezTo>
                    <a:cubicBezTo>
                      <a:pt x="39" y="29"/>
                      <a:pt x="78" y="12"/>
                      <a:pt x="123" y="16"/>
                    </a:cubicBezTo>
                    <a:cubicBezTo>
                      <a:pt x="129" y="17"/>
                      <a:pt x="119" y="11"/>
                      <a:pt x="125" y="11"/>
                    </a:cubicBezTo>
                    <a:cubicBezTo>
                      <a:pt x="153" y="7"/>
                      <a:pt x="187" y="1"/>
                      <a:pt x="223" y="0"/>
                    </a:cubicBezTo>
                    <a:close/>
                    <a:moveTo>
                      <a:pt x="143" y="23"/>
                    </a:moveTo>
                    <a:cubicBezTo>
                      <a:pt x="138" y="20"/>
                      <a:pt x="132" y="19"/>
                      <a:pt x="127" y="16"/>
                    </a:cubicBezTo>
                    <a:cubicBezTo>
                      <a:pt x="128" y="21"/>
                      <a:pt x="137" y="28"/>
                      <a:pt x="14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5" name="Freeform 117"/>
              <p:cNvSpPr>
                <a:spLocks/>
              </p:cNvSpPr>
              <p:nvPr/>
            </p:nvSpPr>
            <p:spPr bwMode="auto">
              <a:xfrm>
                <a:off x="506" y="3233"/>
                <a:ext cx="19" cy="15"/>
              </a:xfrm>
              <a:custGeom>
                <a:avLst/>
                <a:gdLst>
                  <a:gd name="T0" fmla="*/ 0 w 16"/>
                  <a:gd name="T1" fmla="*/ 0 h 12"/>
                  <a:gd name="T2" fmla="*/ 16 w 16"/>
                  <a:gd name="T3" fmla="*/ 7 h 12"/>
                  <a:gd name="T4" fmla="*/ 0 w 16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5" y="3"/>
                      <a:pt x="11" y="4"/>
                      <a:pt x="16" y="7"/>
                    </a:cubicBezTo>
                    <a:cubicBezTo>
                      <a:pt x="10" y="12"/>
                      <a:pt x="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6" name="Freeform 118"/>
              <p:cNvSpPr>
                <a:spLocks/>
              </p:cNvSpPr>
              <p:nvPr/>
            </p:nvSpPr>
            <p:spPr bwMode="auto">
              <a:xfrm>
                <a:off x="1040" y="3298"/>
                <a:ext cx="178" cy="12"/>
              </a:xfrm>
              <a:custGeom>
                <a:avLst/>
                <a:gdLst>
                  <a:gd name="T0" fmla="*/ 0 w 147"/>
                  <a:gd name="T1" fmla="*/ 8 h 10"/>
                  <a:gd name="T2" fmla="*/ 147 w 147"/>
                  <a:gd name="T3" fmla="*/ 2 h 10"/>
                  <a:gd name="T4" fmla="*/ 133 w 147"/>
                  <a:gd name="T5" fmla="*/ 2 h 10"/>
                  <a:gd name="T6" fmla="*/ 0 w 147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7" h="10">
                    <a:moveTo>
                      <a:pt x="0" y="8"/>
                    </a:moveTo>
                    <a:cubicBezTo>
                      <a:pt x="39" y="2"/>
                      <a:pt x="95" y="0"/>
                      <a:pt x="147" y="2"/>
                    </a:cubicBezTo>
                    <a:cubicBezTo>
                      <a:pt x="143" y="2"/>
                      <a:pt x="138" y="2"/>
                      <a:pt x="133" y="2"/>
                    </a:cubicBezTo>
                    <a:cubicBezTo>
                      <a:pt x="99" y="10"/>
                      <a:pt x="49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7" name="Freeform 119"/>
              <p:cNvSpPr>
                <a:spLocks/>
              </p:cNvSpPr>
              <p:nvPr/>
            </p:nvSpPr>
            <p:spPr bwMode="auto">
              <a:xfrm>
                <a:off x="1158" y="3318"/>
                <a:ext cx="26" cy="7"/>
              </a:xfrm>
              <a:custGeom>
                <a:avLst/>
                <a:gdLst>
                  <a:gd name="T0" fmla="*/ 22 w 22"/>
                  <a:gd name="T1" fmla="*/ 0 h 5"/>
                  <a:gd name="T2" fmla="*/ 0 w 22"/>
                  <a:gd name="T3" fmla="*/ 5 h 5"/>
                  <a:gd name="T4" fmla="*/ 22 w 2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">
                    <a:moveTo>
                      <a:pt x="22" y="0"/>
                    </a:moveTo>
                    <a:cubicBezTo>
                      <a:pt x="17" y="4"/>
                      <a:pt x="9" y="5"/>
                      <a:pt x="0" y="5"/>
                    </a:cubicBezTo>
                    <a:cubicBezTo>
                      <a:pt x="3" y="0"/>
                      <a:pt x="11" y="1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8" name="Freeform 120"/>
              <p:cNvSpPr>
                <a:spLocks/>
              </p:cNvSpPr>
              <p:nvPr/>
            </p:nvSpPr>
            <p:spPr bwMode="auto">
              <a:xfrm>
                <a:off x="1251" y="3320"/>
                <a:ext cx="28" cy="13"/>
              </a:xfrm>
              <a:custGeom>
                <a:avLst/>
                <a:gdLst>
                  <a:gd name="T0" fmla="*/ 23 w 23"/>
                  <a:gd name="T1" fmla="*/ 0 h 11"/>
                  <a:gd name="T2" fmla="*/ 0 w 23"/>
                  <a:gd name="T3" fmla="*/ 11 h 11"/>
                  <a:gd name="T4" fmla="*/ 23 w 23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1">
                    <a:moveTo>
                      <a:pt x="23" y="0"/>
                    </a:moveTo>
                    <a:cubicBezTo>
                      <a:pt x="21" y="10"/>
                      <a:pt x="9" y="9"/>
                      <a:pt x="0" y="11"/>
                    </a:cubicBezTo>
                    <a:cubicBezTo>
                      <a:pt x="4" y="4"/>
                      <a:pt x="15" y="4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9" name="Freeform 121"/>
              <p:cNvSpPr>
                <a:spLocks/>
              </p:cNvSpPr>
              <p:nvPr/>
            </p:nvSpPr>
            <p:spPr bwMode="auto">
              <a:xfrm>
                <a:off x="1069" y="3338"/>
                <a:ext cx="29" cy="8"/>
              </a:xfrm>
              <a:custGeom>
                <a:avLst/>
                <a:gdLst>
                  <a:gd name="T0" fmla="*/ 24 w 24"/>
                  <a:gd name="T1" fmla="*/ 0 h 7"/>
                  <a:gd name="T2" fmla="*/ 0 w 24"/>
                  <a:gd name="T3" fmla="*/ 7 h 7"/>
                  <a:gd name="T4" fmla="*/ 24 w 2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7">
                    <a:moveTo>
                      <a:pt x="24" y="0"/>
                    </a:moveTo>
                    <a:cubicBezTo>
                      <a:pt x="21" y="7"/>
                      <a:pt x="9" y="6"/>
                      <a:pt x="0" y="7"/>
                    </a:cubicBezTo>
                    <a:cubicBezTo>
                      <a:pt x="5" y="1"/>
                      <a:pt x="17" y="3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0" name="Freeform 122"/>
              <p:cNvSpPr>
                <a:spLocks/>
              </p:cNvSpPr>
              <p:nvPr/>
            </p:nvSpPr>
            <p:spPr bwMode="auto">
              <a:xfrm>
                <a:off x="985" y="3361"/>
                <a:ext cx="65" cy="56"/>
              </a:xfrm>
              <a:custGeom>
                <a:avLst/>
                <a:gdLst>
                  <a:gd name="T0" fmla="*/ 34 w 53"/>
                  <a:gd name="T1" fmla="*/ 0 h 46"/>
                  <a:gd name="T2" fmla="*/ 53 w 53"/>
                  <a:gd name="T3" fmla="*/ 41 h 46"/>
                  <a:gd name="T4" fmla="*/ 34 w 53"/>
                  <a:gd name="T5" fmla="*/ 29 h 46"/>
                  <a:gd name="T6" fmla="*/ 0 w 53"/>
                  <a:gd name="T7" fmla="*/ 41 h 46"/>
                  <a:gd name="T8" fmla="*/ 34 w 5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6">
                    <a:moveTo>
                      <a:pt x="34" y="0"/>
                    </a:moveTo>
                    <a:cubicBezTo>
                      <a:pt x="39" y="13"/>
                      <a:pt x="44" y="28"/>
                      <a:pt x="53" y="41"/>
                    </a:cubicBezTo>
                    <a:cubicBezTo>
                      <a:pt x="40" y="40"/>
                      <a:pt x="44" y="29"/>
                      <a:pt x="34" y="29"/>
                    </a:cubicBezTo>
                    <a:cubicBezTo>
                      <a:pt x="23" y="28"/>
                      <a:pt x="18" y="46"/>
                      <a:pt x="0" y="41"/>
                    </a:cubicBezTo>
                    <a:cubicBezTo>
                      <a:pt x="8" y="25"/>
                      <a:pt x="35" y="2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1" name="Freeform 123"/>
              <p:cNvSpPr>
                <a:spLocks/>
              </p:cNvSpPr>
              <p:nvPr/>
            </p:nvSpPr>
            <p:spPr bwMode="auto">
              <a:xfrm>
                <a:off x="950" y="3384"/>
                <a:ext cx="35" cy="23"/>
              </a:xfrm>
              <a:custGeom>
                <a:avLst/>
                <a:gdLst>
                  <a:gd name="T0" fmla="*/ 29 w 29"/>
                  <a:gd name="T1" fmla="*/ 4 h 19"/>
                  <a:gd name="T2" fmla="*/ 6 w 29"/>
                  <a:gd name="T3" fmla="*/ 19 h 19"/>
                  <a:gd name="T4" fmla="*/ 29 w 29"/>
                  <a:gd name="T5" fmla="*/ 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19">
                    <a:moveTo>
                      <a:pt x="29" y="4"/>
                    </a:moveTo>
                    <a:cubicBezTo>
                      <a:pt x="22" y="10"/>
                      <a:pt x="15" y="15"/>
                      <a:pt x="6" y="19"/>
                    </a:cubicBezTo>
                    <a:cubicBezTo>
                      <a:pt x="0" y="7"/>
                      <a:pt x="19" y="0"/>
                      <a:pt x="2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2" name="Freeform 124"/>
              <p:cNvSpPr>
                <a:spLocks/>
              </p:cNvSpPr>
              <p:nvPr/>
            </p:nvSpPr>
            <p:spPr bwMode="auto">
              <a:xfrm>
                <a:off x="1431" y="3395"/>
                <a:ext cx="14" cy="17"/>
              </a:xfrm>
              <a:custGeom>
                <a:avLst/>
                <a:gdLst>
                  <a:gd name="T0" fmla="*/ 0 w 12"/>
                  <a:gd name="T1" fmla="*/ 6 h 14"/>
                  <a:gd name="T2" fmla="*/ 12 w 12"/>
                  <a:gd name="T3" fmla="*/ 8 h 14"/>
                  <a:gd name="T4" fmla="*/ 0 w 12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cubicBezTo>
                      <a:pt x="4" y="0"/>
                      <a:pt x="8" y="8"/>
                      <a:pt x="12" y="8"/>
                    </a:cubicBezTo>
                    <a:cubicBezTo>
                      <a:pt x="11" y="14"/>
                      <a:pt x="3" y="8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3" name="Freeform 125"/>
              <p:cNvSpPr>
                <a:spLocks/>
              </p:cNvSpPr>
              <p:nvPr/>
            </p:nvSpPr>
            <p:spPr bwMode="auto">
              <a:xfrm>
                <a:off x="1223" y="3419"/>
                <a:ext cx="130" cy="59"/>
              </a:xfrm>
              <a:custGeom>
                <a:avLst/>
                <a:gdLst>
                  <a:gd name="T0" fmla="*/ 0 w 107"/>
                  <a:gd name="T1" fmla="*/ 0 h 48"/>
                  <a:gd name="T2" fmla="*/ 105 w 107"/>
                  <a:gd name="T3" fmla="*/ 27 h 48"/>
                  <a:gd name="T4" fmla="*/ 103 w 107"/>
                  <a:gd name="T5" fmla="*/ 45 h 48"/>
                  <a:gd name="T6" fmla="*/ 37 w 107"/>
                  <a:gd name="T7" fmla="*/ 39 h 48"/>
                  <a:gd name="T8" fmla="*/ 0 w 107"/>
                  <a:gd name="T9" fmla="*/ 7 h 48"/>
                  <a:gd name="T10" fmla="*/ 0 w 107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48">
                    <a:moveTo>
                      <a:pt x="0" y="0"/>
                    </a:moveTo>
                    <a:cubicBezTo>
                      <a:pt x="32" y="12"/>
                      <a:pt x="72" y="16"/>
                      <a:pt x="105" y="27"/>
                    </a:cubicBezTo>
                    <a:cubicBezTo>
                      <a:pt x="107" y="32"/>
                      <a:pt x="104" y="38"/>
                      <a:pt x="103" y="45"/>
                    </a:cubicBezTo>
                    <a:cubicBezTo>
                      <a:pt x="80" y="44"/>
                      <a:pt x="52" y="48"/>
                      <a:pt x="37" y="39"/>
                    </a:cubicBezTo>
                    <a:cubicBezTo>
                      <a:pt x="48" y="18"/>
                      <a:pt x="18" y="11"/>
                      <a:pt x="0" y="7"/>
                    </a:cubicBezTo>
                    <a:cubicBezTo>
                      <a:pt x="0" y="5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4" name="Freeform 126"/>
              <p:cNvSpPr>
                <a:spLocks/>
              </p:cNvSpPr>
              <p:nvPr/>
            </p:nvSpPr>
            <p:spPr bwMode="auto">
              <a:xfrm>
                <a:off x="1731" y="3418"/>
                <a:ext cx="22" cy="16"/>
              </a:xfrm>
              <a:custGeom>
                <a:avLst/>
                <a:gdLst>
                  <a:gd name="T0" fmla="*/ 0 w 18"/>
                  <a:gd name="T1" fmla="*/ 3 h 13"/>
                  <a:gd name="T2" fmla="*/ 16 w 18"/>
                  <a:gd name="T3" fmla="*/ 12 h 13"/>
                  <a:gd name="T4" fmla="*/ 0 w 18"/>
                  <a:gd name="T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3">
                    <a:moveTo>
                      <a:pt x="0" y="3"/>
                    </a:moveTo>
                    <a:cubicBezTo>
                      <a:pt x="4" y="0"/>
                      <a:pt x="18" y="3"/>
                      <a:pt x="16" y="12"/>
                    </a:cubicBezTo>
                    <a:cubicBezTo>
                      <a:pt x="7" y="13"/>
                      <a:pt x="8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5" name="Freeform 127"/>
              <p:cNvSpPr>
                <a:spLocks/>
              </p:cNvSpPr>
              <p:nvPr/>
            </p:nvSpPr>
            <p:spPr bwMode="auto">
              <a:xfrm>
                <a:off x="1364" y="3423"/>
                <a:ext cx="17" cy="16"/>
              </a:xfrm>
              <a:custGeom>
                <a:avLst/>
                <a:gdLst>
                  <a:gd name="T0" fmla="*/ 3 w 14"/>
                  <a:gd name="T1" fmla="*/ 1 h 13"/>
                  <a:gd name="T2" fmla="*/ 14 w 14"/>
                  <a:gd name="T3" fmla="*/ 8 h 13"/>
                  <a:gd name="T4" fmla="*/ 3 w 14"/>
                  <a:gd name="T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3">
                    <a:moveTo>
                      <a:pt x="3" y="1"/>
                    </a:moveTo>
                    <a:cubicBezTo>
                      <a:pt x="9" y="0"/>
                      <a:pt x="9" y="7"/>
                      <a:pt x="14" y="8"/>
                    </a:cubicBezTo>
                    <a:cubicBezTo>
                      <a:pt x="10" y="13"/>
                      <a:pt x="0" y="9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6" name="Freeform 128"/>
              <p:cNvSpPr>
                <a:spLocks/>
              </p:cNvSpPr>
              <p:nvPr/>
            </p:nvSpPr>
            <p:spPr bwMode="auto">
              <a:xfrm>
                <a:off x="881" y="3439"/>
                <a:ext cx="13" cy="11"/>
              </a:xfrm>
              <a:custGeom>
                <a:avLst/>
                <a:gdLst>
                  <a:gd name="T0" fmla="*/ 2 w 11"/>
                  <a:gd name="T1" fmla="*/ 0 h 9"/>
                  <a:gd name="T2" fmla="*/ 11 w 11"/>
                  <a:gd name="T3" fmla="*/ 2 h 9"/>
                  <a:gd name="T4" fmla="*/ 2 w 11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cubicBezTo>
                      <a:pt x="6" y="0"/>
                      <a:pt x="9" y="1"/>
                      <a:pt x="11" y="2"/>
                    </a:cubicBezTo>
                    <a:cubicBezTo>
                      <a:pt x="9" y="4"/>
                      <a:pt x="0" y="9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7" name="Freeform 129"/>
              <p:cNvSpPr>
                <a:spLocks/>
              </p:cNvSpPr>
              <p:nvPr/>
            </p:nvSpPr>
            <p:spPr bwMode="auto">
              <a:xfrm>
                <a:off x="1074" y="3438"/>
                <a:ext cx="58" cy="8"/>
              </a:xfrm>
              <a:custGeom>
                <a:avLst/>
                <a:gdLst>
                  <a:gd name="T0" fmla="*/ 0 w 48"/>
                  <a:gd name="T1" fmla="*/ 3 h 7"/>
                  <a:gd name="T2" fmla="*/ 48 w 48"/>
                  <a:gd name="T3" fmla="*/ 3 h 7"/>
                  <a:gd name="T4" fmla="*/ 0 w 4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">
                    <a:moveTo>
                      <a:pt x="0" y="3"/>
                    </a:moveTo>
                    <a:cubicBezTo>
                      <a:pt x="12" y="0"/>
                      <a:pt x="36" y="0"/>
                      <a:pt x="48" y="3"/>
                    </a:cubicBezTo>
                    <a:cubicBezTo>
                      <a:pt x="35" y="7"/>
                      <a:pt x="14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8" name="Freeform 130"/>
              <p:cNvSpPr>
                <a:spLocks/>
              </p:cNvSpPr>
              <p:nvPr/>
            </p:nvSpPr>
            <p:spPr bwMode="auto">
              <a:xfrm>
                <a:off x="1177" y="3439"/>
                <a:ext cx="35" cy="7"/>
              </a:xfrm>
              <a:custGeom>
                <a:avLst/>
                <a:gdLst>
                  <a:gd name="T0" fmla="*/ 0 w 29"/>
                  <a:gd name="T1" fmla="*/ 0 h 6"/>
                  <a:gd name="T2" fmla="*/ 29 w 29"/>
                  <a:gd name="T3" fmla="*/ 0 h 6"/>
                  <a:gd name="T4" fmla="*/ 0 w 29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6">
                    <a:moveTo>
                      <a:pt x="0" y="0"/>
                    </a:moveTo>
                    <a:cubicBezTo>
                      <a:pt x="10" y="0"/>
                      <a:pt x="19" y="0"/>
                      <a:pt x="29" y="0"/>
                    </a:cubicBezTo>
                    <a:cubicBezTo>
                      <a:pt x="27" y="6"/>
                      <a:pt x="3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9" name="Freeform 131"/>
              <p:cNvSpPr>
                <a:spLocks/>
              </p:cNvSpPr>
              <p:nvPr/>
            </p:nvSpPr>
            <p:spPr bwMode="auto">
              <a:xfrm>
                <a:off x="799" y="1259"/>
                <a:ext cx="234" cy="125"/>
              </a:xfrm>
              <a:custGeom>
                <a:avLst/>
                <a:gdLst>
                  <a:gd name="T0" fmla="*/ 146 w 192"/>
                  <a:gd name="T1" fmla="*/ 0 h 103"/>
                  <a:gd name="T2" fmla="*/ 180 w 192"/>
                  <a:gd name="T3" fmla="*/ 0 h 103"/>
                  <a:gd name="T4" fmla="*/ 187 w 192"/>
                  <a:gd name="T5" fmla="*/ 3 h 103"/>
                  <a:gd name="T6" fmla="*/ 192 w 192"/>
                  <a:gd name="T7" fmla="*/ 14 h 103"/>
                  <a:gd name="T8" fmla="*/ 187 w 192"/>
                  <a:gd name="T9" fmla="*/ 19 h 103"/>
                  <a:gd name="T10" fmla="*/ 158 w 192"/>
                  <a:gd name="T11" fmla="*/ 26 h 103"/>
                  <a:gd name="T12" fmla="*/ 158 w 192"/>
                  <a:gd name="T13" fmla="*/ 19 h 103"/>
                  <a:gd name="T14" fmla="*/ 101 w 192"/>
                  <a:gd name="T15" fmla="*/ 37 h 103"/>
                  <a:gd name="T16" fmla="*/ 101 w 192"/>
                  <a:gd name="T17" fmla="*/ 30 h 103"/>
                  <a:gd name="T18" fmla="*/ 0 w 192"/>
                  <a:gd name="T19" fmla="*/ 103 h 103"/>
                  <a:gd name="T20" fmla="*/ 137 w 192"/>
                  <a:gd name="T21" fmla="*/ 14 h 103"/>
                  <a:gd name="T22" fmla="*/ 146 w 192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103">
                    <a:moveTo>
                      <a:pt x="146" y="0"/>
                    </a:moveTo>
                    <a:cubicBezTo>
                      <a:pt x="157" y="0"/>
                      <a:pt x="168" y="0"/>
                      <a:pt x="180" y="0"/>
                    </a:cubicBezTo>
                    <a:cubicBezTo>
                      <a:pt x="180" y="3"/>
                      <a:pt x="183" y="4"/>
                      <a:pt x="187" y="3"/>
                    </a:cubicBezTo>
                    <a:cubicBezTo>
                      <a:pt x="182" y="9"/>
                      <a:pt x="189" y="12"/>
                      <a:pt x="192" y="14"/>
                    </a:cubicBezTo>
                    <a:cubicBezTo>
                      <a:pt x="192" y="17"/>
                      <a:pt x="185" y="10"/>
                      <a:pt x="187" y="19"/>
                    </a:cubicBezTo>
                    <a:cubicBezTo>
                      <a:pt x="172" y="17"/>
                      <a:pt x="166" y="22"/>
                      <a:pt x="158" y="26"/>
                    </a:cubicBezTo>
                    <a:cubicBezTo>
                      <a:pt x="150" y="26"/>
                      <a:pt x="160" y="24"/>
                      <a:pt x="158" y="19"/>
                    </a:cubicBezTo>
                    <a:cubicBezTo>
                      <a:pt x="134" y="20"/>
                      <a:pt x="118" y="28"/>
                      <a:pt x="101" y="37"/>
                    </a:cubicBezTo>
                    <a:cubicBezTo>
                      <a:pt x="97" y="37"/>
                      <a:pt x="101" y="31"/>
                      <a:pt x="101" y="30"/>
                    </a:cubicBezTo>
                    <a:cubicBezTo>
                      <a:pt x="54" y="41"/>
                      <a:pt x="31" y="72"/>
                      <a:pt x="0" y="103"/>
                    </a:cubicBezTo>
                    <a:cubicBezTo>
                      <a:pt x="21" y="49"/>
                      <a:pt x="77" y="29"/>
                      <a:pt x="137" y="14"/>
                    </a:cubicBezTo>
                    <a:cubicBezTo>
                      <a:pt x="142" y="11"/>
                      <a:pt x="146" y="8"/>
                      <a:pt x="1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0" name="Freeform 132"/>
              <p:cNvSpPr>
                <a:spLocks/>
              </p:cNvSpPr>
              <p:nvPr/>
            </p:nvSpPr>
            <p:spPr bwMode="auto">
              <a:xfrm>
                <a:off x="956" y="1305"/>
                <a:ext cx="18" cy="15"/>
              </a:xfrm>
              <a:custGeom>
                <a:avLst/>
                <a:gdLst>
                  <a:gd name="T0" fmla="*/ 13 w 15"/>
                  <a:gd name="T1" fmla="*/ 3 h 12"/>
                  <a:gd name="T2" fmla="*/ 4 w 15"/>
                  <a:gd name="T3" fmla="*/ 8 h 12"/>
                  <a:gd name="T4" fmla="*/ 13 w 15"/>
                  <a:gd name="T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2">
                    <a:moveTo>
                      <a:pt x="13" y="3"/>
                    </a:moveTo>
                    <a:cubicBezTo>
                      <a:pt x="15" y="12"/>
                      <a:pt x="2" y="0"/>
                      <a:pt x="4" y="8"/>
                    </a:cubicBezTo>
                    <a:cubicBezTo>
                      <a:pt x="0" y="2"/>
                      <a:pt x="7" y="4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1" name="Freeform 133"/>
              <p:cNvSpPr>
                <a:spLocks/>
              </p:cNvSpPr>
              <p:nvPr/>
            </p:nvSpPr>
            <p:spPr bwMode="auto">
              <a:xfrm>
                <a:off x="954" y="1309"/>
                <a:ext cx="17" cy="32"/>
              </a:xfrm>
              <a:custGeom>
                <a:avLst/>
                <a:gdLst>
                  <a:gd name="T0" fmla="*/ 1 w 14"/>
                  <a:gd name="T1" fmla="*/ 3 h 26"/>
                  <a:gd name="T2" fmla="*/ 6 w 14"/>
                  <a:gd name="T3" fmla="*/ 12 h 26"/>
                  <a:gd name="T4" fmla="*/ 14 w 14"/>
                  <a:gd name="T5" fmla="*/ 9 h 26"/>
                  <a:gd name="T6" fmla="*/ 5 w 14"/>
                  <a:gd name="T7" fmla="*/ 26 h 26"/>
                  <a:gd name="T8" fmla="*/ 1 w 14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1" y="3"/>
                    </a:moveTo>
                    <a:cubicBezTo>
                      <a:pt x="2" y="0"/>
                      <a:pt x="6" y="9"/>
                      <a:pt x="6" y="12"/>
                    </a:cubicBezTo>
                    <a:cubicBezTo>
                      <a:pt x="10" y="12"/>
                      <a:pt x="9" y="7"/>
                      <a:pt x="14" y="9"/>
                    </a:cubicBezTo>
                    <a:cubicBezTo>
                      <a:pt x="12" y="15"/>
                      <a:pt x="6" y="19"/>
                      <a:pt x="5" y="26"/>
                    </a:cubicBezTo>
                    <a:cubicBezTo>
                      <a:pt x="0" y="22"/>
                      <a:pt x="5" y="8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2" name="Freeform 134"/>
              <p:cNvSpPr>
                <a:spLocks/>
              </p:cNvSpPr>
              <p:nvPr/>
            </p:nvSpPr>
            <p:spPr bwMode="auto">
              <a:xfrm>
                <a:off x="1414" y="1473"/>
                <a:ext cx="48" cy="41"/>
              </a:xfrm>
              <a:custGeom>
                <a:avLst/>
                <a:gdLst>
                  <a:gd name="T0" fmla="*/ 8 w 40"/>
                  <a:gd name="T1" fmla="*/ 11 h 34"/>
                  <a:gd name="T2" fmla="*/ 8 w 40"/>
                  <a:gd name="T3" fmla="*/ 0 h 34"/>
                  <a:gd name="T4" fmla="*/ 40 w 40"/>
                  <a:gd name="T5" fmla="*/ 32 h 34"/>
                  <a:gd name="T6" fmla="*/ 28 w 40"/>
                  <a:gd name="T7" fmla="*/ 23 h 34"/>
                  <a:gd name="T8" fmla="*/ 5 w 40"/>
                  <a:gd name="T9" fmla="*/ 20 h 34"/>
                  <a:gd name="T10" fmla="*/ 8 w 40"/>
                  <a:gd name="T11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8" y="11"/>
                    </a:moveTo>
                    <a:cubicBezTo>
                      <a:pt x="4" y="7"/>
                      <a:pt x="6" y="5"/>
                      <a:pt x="8" y="0"/>
                    </a:cubicBezTo>
                    <a:cubicBezTo>
                      <a:pt x="22" y="7"/>
                      <a:pt x="30" y="21"/>
                      <a:pt x="40" y="32"/>
                    </a:cubicBezTo>
                    <a:cubicBezTo>
                      <a:pt x="38" y="34"/>
                      <a:pt x="29" y="28"/>
                      <a:pt x="28" y="23"/>
                    </a:cubicBezTo>
                    <a:cubicBezTo>
                      <a:pt x="23" y="27"/>
                      <a:pt x="9" y="11"/>
                      <a:pt x="5" y="20"/>
                    </a:cubicBezTo>
                    <a:cubicBezTo>
                      <a:pt x="5" y="19"/>
                      <a:pt x="0" y="9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3" name="Freeform 135"/>
              <p:cNvSpPr>
                <a:spLocks/>
              </p:cNvSpPr>
              <p:nvPr/>
            </p:nvSpPr>
            <p:spPr bwMode="auto">
              <a:xfrm>
                <a:off x="1212" y="1484"/>
                <a:ext cx="84" cy="103"/>
              </a:xfrm>
              <a:custGeom>
                <a:avLst/>
                <a:gdLst>
                  <a:gd name="T0" fmla="*/ 44 w 69"/>
                  <a:gd name="T1" fmla="*/ 66 h 85"/>
                  <a:gd name="T2" fmla="*/ 69 w 69"/>
                  <a:gd name="T3" fmla="*/ 59 h 85"/>
                  <a:gd name="T4" fmla="*/ 21 w 69"/>
                  <a:gd name="T5" fmla="*/ 75 h 85"/>
                  <a:gd name="T6" fmla="*/ 30 w 69"/>
                  <a:gd name="T7" fmla="*/ 78 h 85"/>
                  <a:gd name="T8" fmla="*/ 18 w 69"/>
                  <a:gd name="T9" fmla="*/ 85 h 85"/>
                  <a:gd name="T10" fmla="*/ 0 w 69"/>
                  <a:gd name="T11" fmla="*/ 82 h 85"/>
                  <a:gd name="T12" fmla="*/ 7 w 69"/>
                  <a:gd name="T13" fmla="*/ 66 h 85"/>
                  <a:gd name="T14" fmla="*/ 30 w 69"/>
                  <a:gd name="T15" fmla="*/ 46 h 85"/>
                  <a:gd name="T16" fmla="*/ 25 w 69"/>
                  <a:gd name="T17" fmla="*/ 50 h 85"/>
                  <a:gd name="T18" fmla="*/ 30 w 69"/>
                  <a:gd name="T19" fmla="*/ 21 h 85"/>
                  <a:gd name="T20" fmla="*/ 36 w 69"/>
                  <a:gd name="T21" fmla="*/ 27 h 85"/>
                  <a:gd name="T22" fmla="*/ 37 w 69"/>
                  <a:gd name="T23" fmla="*/ 0 h 85"/>
                  <a:gd name="T24" fmla="*/ 50 w 69"/>
                  <a:gd name="T25" fmla="*/ 5 h 85"/>
                  <a:gd name="T26" fmla="*/ 50 w 69"/>
                  <a:gd name="T27" fmla="*/ 21 h 85"/>
                  <a:gd name="T28" fmla="*/ 59 w 69"/>
                  <a:gd name="T29" fmla="*/ 23 h 85"/>
                  <a:gd name="T30" fmla="*/ 55 w 69"/>
                  <a:gd name="T31" fmla="*/ 30 h 85"/>
                  <a:gd name="T32" fmla="*/ 62 w 69"/>
                  <a:gd name="T33" fmla="*/ 30 h 85"/>
                  <a:gd name="T34" fmla="*/ 66 w 69"/>
                  <a:gd name="T35" fmla="*/ 34 h 85"/>
                  <a:gd name="T36" fmla="*/ 48 w 69"/>
                  <a:gd name="T37" fmla="*/ 57 h 85"/>
                  <a:gd name="T38" fmla="*/ 44 w 69"/>
                  <a:gd name="T39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9" h="85">
                    <a:moveTo>
                      <a:pt x="44" y="66"/>
                    </a:moveTo>
                    <a:cubicBezTo>
                      <a:pt x="51" y="69"/>
                      <a:pt x="61" y="60"/>
                      <a:pt x="69" y="59"/>
                    </a:cubicBezTo>
                    <a:cubicBezTo>
                      <a:pt x="60" y="71"/>
                      <a:pt x="41" y="73"/>
                      <a:pt x="21" y="75"/>
                    </a:cubicBezTo>
                    <a:cubicBezTo>
                      <a:pt x="23" y="77"/>
                      <a:pt x="26" y="78"/>
                      <a:pt x="30" y="78"/>
                    </a:cubicBezTo>
                    <a:cubicBezTo>
                      <a:pt x="26" y="81"/>
                      <a:pt x="19" y="80"/>
                      <a:pt x="18" y="85"/>
                    </a:cubicBezTo>
                    <a:cubicBezTo>
                      <a:pt x="12" y="84"/>
                      <a:pt x="5" y="84"/>
                      <a:pt x="0" y="82"/>
                    </a:cubicBezTo>
                    <a:cubicBezTo>
                      <a:pt x="2" y="77"/>
                      <a:pt x="7" y="76"/>
                      <a:pt x="7" y="66"/>
                    </a:cubicBezTo>
                    <a:cubicBezTo>
                      <a:pt x="15" y="66"/>
                      <a:pt x="29" y="58"/>
                      <a:pt x="30" y="46"/>
                    </a:cubicBezTo>
                    <a:cubicBezTo>
                      <a:pt x="30" y="42"/>
                      <a:pt x="25" y="48"/>
                      <a:pt x="25" y="50"/>
                    </a:cubicBezTo>
                    <a:cubicBezTo>
                      <a:pt x="20" y="41"/>
                      <a:pt x="33" y="34"/>
                      <a:pt x="30" y="21"/>
                    </a:cubicBezTo>
                    <a:cubicBezTo>
                      <a:pt x="37" y="18"/>
                      <a:pt x="31" y="27"/>
                      <a:pt x="36" y="27"/>
                    </a:cubicBezTo>
                    <a:cubicBezTo>
                      <a:pt x="38" y="19"/>
                      <a:pt x="35" y="11"/>
                      <a:pt x="37" y="0"/>
                    </a:cubicBezTo>
                    <a:cubicBezTo>
                      <a:pt x="42" y="1"/>
                      <a:pt x="44" y="6"/>
                      <a:pt x="50" y="5"/>
                    </a:cubicBezTo>
                    <a:cubicBezTo>
                      <a:pt x="50" y="11"/>
                      <a:pt x="50" y="16"/>
                      <a:pt x="50" y="21"/>
                    </a:cubicBezTo>
                    <a:cubicBezTo>
                      <a:pt x="51" y="24"/>
                      <a:pt x="55" y="20"/>
                      <a:pt x="59" y="23"/>
                    </a:cubicBezTo>
                    <a:cubicBezTo>
                      <a:pt x="58" y="26"/>
                      <a:pt x="56" y="28"/>
                      <a:pt x="55" y="30"/>
                    </a:cubicBezTo>
                    <a:cubicBezTo>
                      <a:pt x="56" y="35"/>
                      <a:pt x="59" y="28"/>
                      <a:pt x="62" y="30"/>
                    </a:cubicBezTo>
                    <a:cubicBezTo>
                      <a:pt x="62" y="33"/>
                      <a:pt x="64" y="34"/>
                      <a:pt x="66" y="34"/>
                    </a:cubicBezTo>
                    <a:cubicBezTo>
                      <a:pt x="65" y="46"/>
                      <a:pt x="52" y="47"/>
                      <a:pt x="48" y="57"/>
                    </a:cubicBezTo>
                    <a:cubicBezTo>
                      <a:pt x="57" y="57"/>
                      <a:pt x="50" y="62"/>
                      <a:pt x="44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4" name="Freeform 136"/>
              <p:cNvSpPr>
                <a:spLocks/>
              </p:cNvSpPr>
              <p:nvPr/>
            </p:nvSpPr>
            <p:spPr bwMode="auto">
              <a:xfrm>
                <a:off x="778" y="1492"/>
                <a:ext cx="25" cy="20"/>
              </a:xfrm>
              <a:custGeom>
                <a:avLst/>
                <a:gdLst>
                  <a:gd name="T0" fmla="*/ 21 w 21"/>
                  <a:gd name="T1" fmla="*/ 0 h 16"/>
                  <a:gd name="T2" fmla="*/ 7 w 21"/>
                  <a:gd name="T3" fmla="*/ 16 h 16"/>
                  <a:gd name="T4" fmla="*/ 21 w 21"/>
                  <a:gd name="T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21" y="0"/>
                    </a:moveTo>
                    <a:cubicBezTo>
                      <a:pt x="18" y="7"/>
                      <a:pt x="14" y="12"/>
                      <a:pt x="7" y="16"/>
                    </a:cubicBezTo>
                    <a:cubicBezTo>
                      <a:pt x="0" y="6"/>
                      <a:pt x="17" y="4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5" name="Freeform 137"/>
              <p:cNvSpPr>
                <a:spLocks/>
              </p:cNvSpPr>
              <p:nvPr/>
            </p:nvSpPr>
            <p:spPr bwMode="auto">
              <a:xfrm>
                <a:off x="1343" y="1570"/>
                <a:ext cx="25" cy="17"/>
              </a:xfrm>
              <a:custGeom>
                <a:avLst/>
                <a:gdLst>
                  <a:gd name="T0" fmla="*/ 20 w 20"/>
                  <a:gd name="T1" fmla="*/ 0 h 14"/>
                  <a:gd name="T2" fmla="*/ 1 w 20"/>
                  <a:gd name="T3" fmla="*/ 14 h 14"/>
                  <a:gd name="T4" fmla="*/ 20 w 20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4">
                    <a:moveTo>
                      <a:pt x="20" y="0"/>
                    </a:moveTo>
                    <a:cubicBezTo>
                      <a:pt x="15" y="6"/>
                      <a:pt x="9" y="12"/>
                      <a:pt x="1" y="14"/>
                    </a:cubicBezTo>
                    <a:cubicBezTo>
                      <a:pt x="0" y="9"/>
                      <a:pt x="13" y="3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6" name="Freeform 138"/>
              <p:cNvSpPr>
                <a:spLocks/>
              </p:cNvSpPr>
              <p:nvPr/>
            </p:nvSpPr>
            <p:spPr bwMode="auto">
              <a:xfrm>
                <a:off x="1602" y="1672"/>
                <a:ext cx="13" cy="14"/>
              </a:xfrm>
              <a:custGeom>
                <a:avLst/>
                <a:gdLst>
                  <a:gd name="T0" fmla="*/ 8 w 11"/>
                  <a:gd name="T1" fmla="*/ 0 h 11"/>
                  <a:gd name="T2" fmla="*/ 1 w 11"/>
                  <a:gd name="T3" fmla="*/ 9 h 11"/>
                  <a:gd name="T4" fmla="*/ 8 w 11"/>
                  <a:gd name="T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8" y="0"/>
                    </a:moveTo>
                    <a:cubicBezTo>
                      <a:pt x="11" y="1"/>
                      <a:pt x="8" y="11"/>
                      <a:pt x="1" y="9"/>
                    </a:cubicBezTo>
                    <a:cubicBezTo>
                      <a:pt x="0" y="3"/>
                      <a:pt x="6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7" name="Freeform 139"/>
              <p:cNvSpPr>
                <a:spLocks/>
              </p:cNvSpPr>
              <p:nvPr/>
            </p:nvSpPr>
            <p:spPr bwMode="auto">
              <a:xfrm>
                <a:off x="1460" y="1841"/>
                <a:ext cx="16" cy="12"/>
              </a:xfrm>
              <a:custGeom>
                <a:avLst/>
                <a:gdLst>
                  <a:gd name="T0" fmla="*/ 2 w 13"/>
                  <a:gd name="T1" fmla="*/ 0 h 10"/>
                  <a:gd name="T2" fmla="*/ 13 w 13"/>
                  <a:gd name="T3" fmla="*/ 7 h 10"/>
                  <a:gd name="T4" fmla="*/ 2 w 13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2" y="0"/>
                    </a:moveTo>
                    <a:cubicBezTo>
                      <a:pt x="7" y="1"/>
                      <a:pt x="7" y="7"/>
                      <a:pt x="13" y="7"/>
                    </a:cubicBezTo>
                    <a:cubicBezTo>
                      <a:pt x="11" y="10"/>
                      <a:pt x="0" y="7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8" name="Freeform 140"/>
              <p:cNvSpPr>
                <a:spLocks/>
              </p:cNvSpPr>
              <p:nvPr/>
            </p:nvSpPr>
            <p:spPr bwMode="auto">
              <a:xfrm>
                <a:off x="1443" y="1856"/>
                <a:ext cx="30" cy="28"/>
              </a:xfrm>
              <a:custGeom>
                <a:avLst/>
                <a:gdLst>
                  <a:gd name="T0" fmla="*/ 0 w 25"/>
                  <a:gd name="T1" fmla="*/ 0 h 23"/>
                  <a:gd name="T2" fmla="*/ 25 w 25"/>
                  <a:gd name="T3" fmla="*/ 23 h 23"/>
                  <a:gd name="T4" fmla="*/ 0 w 25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23">
                    <a:moveTo>
                      <a:pt x="0" y="0"/>
                    </a:moveTo>
                    <a:cubicBezTo>
                      <a:pt x="9" y="1"/>
                      <a:pt x="19" y="15"/>
                      <a:pt x="25" y="23"/>
                    </a:cubicBezTo>
                    <a:cubicBezTo>
                      <a:pt x="12" y="20"/>
                      <a:pt x="10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9" name="Freeform 141"/>
              <p:cNvSpPr>
                <a:spLocks noEditPoints="1"/>
              </p:cNvSpPr>
              <p:nvPr/>
            </p:nvSpPr>
            <p:spPr bwMode="auto">
              <a:xfrm>
                <a:off x="1458" y="1878"/>
                <a:ext cx="232" cy="580"/>
              </a:xfrm>
              <a:custGeom>
                <a:avLst/>
                <a:gdLst>
                  <a:gd name="T0" fmla="*/ 118 w 191"/>
                  <a:gd name="T1" fmla="*/ 18 h 478"/>
                  <a:gd name="T2" fmla="*/ 174 w 191"/>
                  <a:gd name="T3" fmla="*/ 0 h 478"/>
                  <a:gd name="T4" fmla="*/ 179 w 191"/>
                  <a:gd name="T5" fmla="*/ 18 h 478"/>
                  <a:gd name="T6" fmla="*/ 170 w 191"/>
                  <a:gd name="T7" fmla="*/ 60 h 478"/>
                  <a:gd name="T8" fmla="*/ 154 w 191"/>
                  <a:gd name="T9" fmla="*/ 91 h 478"/>
                  <a:gd name="T10" fmla="*/ 158 w 191"/>
                  <a:gd name="T11" fmla="*/ 100 h 478"/>
                  <a:gd name="T12" fmla="*/ 191 w 191"/>
                  <a:gd name="T13" fmla="*/ 94 h 478"/>
                  <a:gd name="T14" fmla="*/ 166 w 191"/>
                  <a:gd name="T15" fmla="*/ 112 h 478"/>
                  <a:gd name="T16" fmla="*/ 88 w 191"/>
                  <a:gd name="T17" fmla="*/ 181 h 478"/>
                  <a:gd name="T18" fmla="*/ 74 w 191"/>
                  <a:gd name="T19" fmla="*/ 183 h 478"/>
                  <a:gd name="T20" fmla="*/ 70 w 191"/>
                  <a:gd name="T21" fmla="*/ 201 h 478"/>
                  <a:gd name="T22" fmla="*/ 79 w 191"/>
                  <a:gd name="T23" fmla="*/ 238 h 478"/>
                  <a:gd name="T24" fmla="*/ 86 w 191"/>
                  <a:gd name="T25" fmla="*/ 256 h 478"/>
                  <a:gd name="T26" fmla="*/ 90 w 191"/>
                  <a:gd name="T27" fmla="*/ 281 h 478"/>
                  <a:gd name="T28" fmla="*/ 92 w 191"/>
                  <a:gd name="T29" fmla="*/ 269 h 478"/>
                  <a:gd name="T30" fmla="*/ 182 w 191"/>
                  <a:gd name="T31" fmla="*/ 246 h 478"/>
                  <a:gd name="T32" fmla="*/ 170 w 191"/>
                  <a:gd name="T33" fmla="*/ 288 h 478"/>
                  <a:gd name="T34" fmla="*/ 145 w 191"/>
                  <a:gd name="T35" fmla="*/ 381 h 478"/>
                  <a:gd name="T36" fmla="*/ 99 w 191"/>
                  <a:gd name="T37" fmla="*/ 425 h 478"/>
                  <a:gd name="T38" fmla="*/ 92 w 191"/>
                  <a:gd name="T39" fmla="*/ 443 h 478"/>
                  <a:gd name="T40" fmla="*/ 76 w 191"/>
                  <a:gd name="T41" fmla="*/ 427 h 478"/>
                  <a:gd name="T42" fmla="*/ 106 w 191"/>
                  <a:gd name="T43" fmla="*/ 415 h 478"/>
                  <a:gd name="T44" fmla="*/ 115 w 191"/>
                  <a:gd name="T45" fmla="*/ 310 h 478"/>
                  <a:gd name="T46" fmla="*/ 111 w 191"/>
                  <a:gd name="T47" fmla="*/ 390 h 478"/>
                  <a:gd name="T48" fmla="*/ 36 w 191"/>
                  <a:gd name="T49" fmla="*/ 441 h 478"/>
                  <a:gd name="T50" fmla="*/ 20 w 191"/>
                  <a:gd name="T51" fmla="*/ 472 h 478"/>
                  <a:gd name="T52" fmla="*/ 12 w 191"/>
                  <a:gd name="T53" fmla="*/ 470 h 478"/>
                  <a:gd name="T54" fmla="*/ 4 w 191"/>
                  <a:gd name="T55" fmla="*/ 452 h 478"/>
                  <a:gd name="T56" fmla="*/ 4 w 191"/>
                  <a:gd name="T57" fmla="*/ 445 h 478"/>
                  <a:gd name="T58" fmla="*/ 6 w 191"/>
                  <a:gd name="T59" fmla="*/ 433 h 478"/>
                  <a:gd name="T60" fmla="*/ 4 w 191"/>
                  <a:gd name="T61" fmla="*/ 416 h 478"/>
                  <a:gd name="T62" fmla="*/ 10 w 191"/>
                  <a:gd name="T63" fmla="*/ 402 h 478"/>
                  <a:gd name="T64" fmla="*/ 24 w 191"/>
                  <a:gd name="T65" fmla="*/ 340 h 478"/>
                  <a:gd name="T66" fmla="*/ 35 w 191"/>
                  <a:gd name="T67" fmla="*/ 310 h 478"/>
                  <a:gd name="T68" fmla="*/ 56 w 191"/>
                  <a:gd name="T69" fmla="*/ 233 h 478"/>
                  <a:gd name="T70" fmla="*/ 63 w 191"/>
                  <a:gd name="T71" fmla="*/ 222 h 478"/>
                  <a:gd name="T72" fmla="*/ 42 w 191"/>
                  <a:gd name="T73" fmla="*/ 135 h 478"/>
                  <a:gd name="T74" fmla="*/ 26 w 191"/>
                  <a:gd name="T75" fmla="*/ 96 h 478"/>
                  <a:gd name="T76" fmla="*/ 22 w 191"/>
                  <a:gd name="T77" fmla="*/ 75 h 478"/>
                  <a:gd name="T78" fmla="*/ 6 w 191"/>
                  <a:gd name="T79" fmla="*/ 14 h 478"/>
                  <a:gd name="T80" fmla="*/ 45 w 191"/>
                  <a:gd name="T81" fmla="*/ 52 h 478"/>
                  <a:gd name="T82" fmla="*/ 85 w 191"/>
                  <a:gd name="T83" fmla="*/ 28 h 478"/>
                  <a:gd name="T84" fmla="*/ 65 w 191"/>
                  <a:gd name="T85" fmla="*/ 64 h 478"/>
                  <a:gd name="T86" fmla="*/ 65 w 191"/>
                  <a:gd name="T87" fmla="*/ 68 h 478"/>
                  <a:gd name="T88" fmla="*/ 81 w 191"/>
                  <a:gd name="T89" fmla="*/ 46 h 478"/>
                  <a:gd name="T90" fmla="*/ 99 w 191"/>
                  <a:gd name="T91" fmla="*/ 27 h 478"/>
                  <a:gd name="T92" fmla="*/ 168 w 191"/>
                  <a:gd name="T93" fmla="*/ 14 h 478"/>
                  <a:gd name="T94" fmla="*/ 125 w 191"/>
                  <a:gd name="T95" fmla="*/ 55 h 478"/>
                  <a:gd name="T96" fmla="*/ 124 w 191"/>
                  <a:gd name="T97" fmla="*/ 84 h 478"/>
                  <a:gd name="T98" fmla="*/ 83 w 191"/>
                  <a:gd name="T99" fmla="*/ 68 h 478"/>
                  <a:gd name="T100" fmla="*/ 81 w 191"/>
                  <a:gd name="T101" fmla="*/ 82 h 478"/>
                  <a:gd name="T102" fmla="*/ 83 w 191"/>
                  <a:gd name="T103" fmla="*/ 68 h 478"/>
                  <a:gd name="T104" fmla="*/ 136 w 191"/>
                  <a:gd name="T105" fmla="*/ 123 h 478"/>
                  <a:gd name="T106" fmla="*/ 69 w 191"/>
                  <a:gd name="T107" fmla="*/ 180 h 478"/>
                  <a:gd name="T108" fmla="*/ 69 w 191"/>
                  <a:gd name="T109" fmla="*/ 180 h 478"/>
                  <a:gd name="T110" fmla="*/ 152 w 191"/>
                  <a:gd name="T111" fmla="*/ 263 h 478"/>
                  <a:gd name="T112" fmla="*/ 142 w 191"/>
                  <a:gd name="T113" fmla="*/ 351 h 478"/>
                  <a:gd name="T114" fmla="*/ 147 w 191"/>
                  <a:gd name="T115" fmla="*/ 345 h 478"/>
                  <a:gd name="T116" fmla="*/ 54 w 191"/>
                  <a:gd name="T117" fmla="*/ 372 h 478"/>
                  <a:gd name="T118" fmla="*/ 63 w 191"/>
                  <a:gd name="T119" fmla="*/ 349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478">
                    <a:moveTo>
                      <a:pt x="99" y="27"/>
                    </a:moveTo>
                    <a:cubicBezTo>
                      <a:pt x="103" y="34"/>
                      <a:pt x="117" y="24"/>
                      <a:pt x="118" y="18"/>
                    </a:cubicBezTo>
                    <a:cubicBezTo>
                      <a:pt x="131" y="17"/>
                      <a:pt x="152" y="9"/>
                      <a:pt x="161" y="0"/>
                    </a:cubicBezTo>
                    <a:cubicBezTo>
                      <a:pt x="165" y="0"/>
                      <a:pt x="169" y="0"/>
                      <a:pt x="174" y="0"/>
                    </a:cubicBezTo>
                    <a:cubicBezTo>
                      <a:pt x="175" y="6"/>
                      <a:pt x="171" y="9"/>
                      <a:pt x="170" y="12"/>
                    </a:cubicBezTo>
                    <a:cubicBezTo>
                      <a:pt x="172" y="15"/>
                      <a:pt x="177" y="15"/>
                      <a:pt x="179" y="18"/>
                    </a:cubicBezTo>
                    <a:cubicBezTo>
                      <a:pt x="179" y="30"/>
                      <a:pt x="179" y="42"/>
                      <a:pt x="170" y="44"/>
                    </a:cubicBezTo>
                    <a:cubicBezTo>
                      <a:pt x="170" y="50"/>
                      <a:pt x="170" y="55"/>
                      <a:pt x="170" y="60"/>
                    </a:cubicBezTo>
                    <a:cubicBezTo>
                      <a:pt x="167" y="62"/>
                      <a:pt x="165" y="65"/>
                      <a:pt x="161" y="66"/>
                    </a:cubicBezTo>
                    <a:cubicBezTo>
                      <a:pt x="167" y="77"/>
                      <a:pt x="155" y="81"/>
                      <a:pt x="154" y="91"/>
                    </a:cubicBezTo>
                    <a:cubicBezTo>
                      <a:pt x="159" y="91"/>
                      <a:pt x="158" y="86"/>
                      <a:pt x="161" y="84"/>
                    </a:cubicBezTo>
                    <a:cubicBezTo>
                      <a:pt x="165" y="87"/>
                      <a:pt x="157" y="93"/>
                      <a:pt x="158" y="100"/>
                    </a:cubicBezTo>
                    <a:cubicBezTo>
                      <a:pt x="167" y="95"/>
                      <a:pt x="166" y="79"/>
                      <a:pt x="181" y="80"/>
                    </a:cubicBezTo>
                    <a:cubicBezTo>
                      <a:pt x="182" y="87"/>
                      <a:pt x="187" y="91"/>
                      <a:pt x="191" y="94"/>
                    </a:cubicBezTo>
                    <a:cubicBezTo>
                      <a:pt x="184" y="100"/>
                      <a:pt x="175" y="104"/>
                      <a:pt x="172" y="114"/>
                    </a:cubicBezTo>
                    <a:cubicBezTo>
                      <a:pt x="169" y="114"/>
                      <a:pt x="169" y="112"/>
                      <a:pt x="166" y="112"/>
                    </a:cubicBezTo>
                    <a:cubicBezTo>
                      <a:pt x="148" y="129"/>
                      <a:pt x="133" y="149"/>
                      <a:pt x="111" y="164"/>
                    </a:cubicBezTo>
                    <a:cubicBezTo>
                      <a:pt x="117" y="170"/>
                      <a:pt x="99" y="181"/>
                      <a:pt x="88" y="181"/>
                    </a:cubicBezTo>
                    <a:cubicBezTo>
                      <a:pt x="86" y="188"/>
                      <a:pt x="96" y="183"/>
                      <a:pt x="97" y="187"/>
                    </a:cubicBezTo>
                    <a:cubicBezTo>
                      <a:pt x="92" y="195"/>
                      <a:pt x="78" y="187"/>
                      <a:pt x="74" y="183"/>
                    </a:cubicBezTo>
                    <a:cubicBezTo>
                      <a:pt x="72" y="197"/>
                      <a:pt x="88" y="193"/>
                      <a:pt x="88" y="205"/>
                    </a:cubicBezTo>
                    <a:cubicBezTo>
                      <a:pt x="78" y="205"/>
                      <a:pt x="75" y="207"/>
                      <a:pt x="70" y="201"/>
                    </a:cubicBezTo>
                    <a:cubicBezTo>
                      <a:pt x="77" y="214"/>
                      <a:pt x="79" y="229"/>
                      <a:pt x="86" y="238"/>
                    </a:cubicBezTo>
                    <a:cubicBezTo>
                      <a:pt x="85" y="244"/>
                      <a:pt x="83" y="237"/>
                      <a:pt x="79" y="238"/>
                    </a:cubicBezTo>
                    <a:cubicBezTo>
                      <a:pt x="79" y="243"/>
                      <a:pt x="82" y="245"/>
                      <a:pt x="86" y="246"/>
                    </a:cubicBezTo>
                    <a:cubicBezTo>
                      <a:pt x="80" y="247"/>
                      <a:pt x="80" y="255"/>
                      <a:pt x="86" y="256"/>
                    </a:cubicBezTo>
                    <a:cubicBezTo>
                      <a:pt x="86" y="259"/>
                      <a:pt x="82" y="258"/>
                      <a:pt x="79" y="258"/>
                    </a:cubicBezTo>
                    <a:cubicBezTo>
                      <a:pt x="78" y="271"/>
                      <a:pt x="86" y="274"/>
                      <a:pt x="90" y="281"/>
                    </a:cubicBezTo>
                    <a:cubicBezTo>
                      <a:pt x="92" y="279"/>
                      <a:pt x="97" y="279"/>
                      <a:pt x="97" y="276"/>
                    </a:cubicBezTo>
                    <a:cubicBezTo>
                      <a:pt x="100" y="269"/>
                      <a:pt x="89" y="275"/>
                      <a:pt x="92" y="269"/>
                    </a:cubicBezTo>
                    <a:cubicBezTo>
                      <a:pt x="120" y="271"/>
                      <a:pt x="149" y="257"/>
                      <a:pt x="166" y="237"/>
                    </a:cubicBezTo>
                    <a:cubicBezTo>
                      <a:pt x="174" y="242"/>
                      <a:pt x="178" y="239"/>
                      <a:pt x="182" y="246"/>
                    </a:cubicBezTo>
                    <a:cubicBezTo>
                      <a:pt x="181" y="249"/>
                      <a:pt x="177" y="251"/>
                      <a:pt x="172" y="251"/>
                    </a:cubicBezTo>
                    <a:cubicBezTo>
                      <a:pt x="168" y="263"/>
                      <a:pt x="167" y="274"/>
                      <a:pt x="170" y="288"/>
                    </a:cubicBezTo>
                    <a:cubicBezTo>
                      <a:pt x="164" y="287"/>
                      <a:pt x="168" y="296"/>
                      <a:pt x="161" y="294"/>
                    </a:cubicBezTo>
                    <a:cubicBezTo>
                      <a:pt x="160" y="325"/>
                      <a:pt x="159" y="354"/>
                      <a:pt x="145" y="381"/>
                    </a:cubicBezTo>
                    <a:cubicBezTo>
                      <a:pt x="141" y="378"/>
                      <a:pt x="147" y="375"/>
                      <a:pt x="143" y="370"/>
                    </a:cubicBezTo>
                    <a:cubicBezTo>
                      <a:pt x="137" y="398"/>
                      <a:pt x="122" y="416"/>
                      <a:pt x="99" y="425"/>
                    </a:cubicBezTo>
                    <a:cubicBezTo>
                      <a:pt x="99" y="430"/>
                      <a:pt x="99" y="434"/>
                      <a:pt x="99" y="438"/>
                    </a:cubicBezTo>
                    <a:cubicBezTo>
                      <a:pt x="95" y="439"/>
                      <a:pt x="91" y="438"/>
                      <a:pt x="92" y="443"/>
                    </a:cubicBezTo>
                    <a:cubicBezTo>
                      <a:pt x="87" y="441"/>
                      <a:pt x="88" y="431"/>
                      <a:pt x="77" y="434"/>
                    </a:cubicBezTo>
                    <a:cubicBezTo>
                      <a:pt x="77" y="431"/>
                      <a:pt x="78" y="427"/>
                      <a:pt x="76" y="427"/>
                    </a:cubicBezTo>
                    <a:cubicBezTo>
                      <a:pt x="76" y="425"/>
                      <a:pt x="87" y="426"/>
                      <a:pt x="86" y="416"/>
                    </a:cubicBezTo>
                    <a:cubicBezTo>
                      <a:pt x="95" y="418"/>
                      <a:pt x="99" y="414"/>
                      <a:pt x="106" y="415"/>
                    </a:cubicBezTo>
                    <a:cubicBezTo>
                      <a:pt x="110" y="407"/>
                      <a:pt x="121" y="406"/>
                      <a:pt x="118" y="392"/>
                    </a:cubicBezTo>
                    <a:cubicBezTo>
                      <a:pt x="143" y="376"/>
                      <a:pt x="139" y="321"/>
                      <a:pt x="115" y="310"/>
                    </a:cubicBezTo>
                    <a:cubicBezTo>
                      <a:pt x="113" y="316"/>
                      <a:pt x="119" y="329"/>
                      <a:pt x="125" y="333"/>
                    </a:cubicBezTo>
                    <a:cubicBezTo>
                      <a:pt x="130" y="356"/>
                      <a:pt x="115" y="369"/>
                      <a:pt x="111" y="390"/>
                    </a:cubicBezTo>
                    <a:cubicBezTo>
                      <a:pt x="91" y="389"/>
                      <a:pt x="38" y="405"/>
                      <a:pt x="60" y="429"/>
                    </a:cubicBezTo>
                    <a:cubicBezTo>
                      <a:pt x="49" y="432"/>
                      <a:pt x="48" y="443"/>
                      <a:pt x="36" y="441"/>
                    </a:cubicBezTo>
                    <a:cubicBezTo>
                      <a:pt x="38" y="451"/>
                      <a:pt x="34" y="454"/>
                      <a:pt x="35" y="463"/>
                    </a:cubicBezTo>
                    <a:cubicBezTo>
                      <a:pt x="28" y="467"/>
                      <a:pt x="22" y="470"/>
                      <a:pt x="20" y="472"/>
                    </a:cubicBezTo>
                    <a:cubicBezTo>
                      <a:pt x="15" y="478"/>
                      <a:pt x="25" y="478"/>
                      <a:pt x="19" y="473"/>
                    </a:cubicBezTo>
                    <a:cubicBezTo>
                      <a:pt x="16" y="472"/>
                      <a:pt x="17" y="470"/>
                      <a:pt x="12" y="470"/>
                    </a:cubicBezTo>
                    <a:cubicBezTo>
                      <a:pt x="11" y="464"/>
                      <a:pt x="15" y="462"/>
                      <a:pt x="13" y="456"/>
                    </a:cubicBezTo>
                    <a:cubicBezTo>
                      <a:pt x="10" y="451"/>
                      <a:pt x="6" y="458"/>
                      <a:pt x="4" y="452"/>
                    </a:cubicBezTo>
                    <a:cubicBezTo>
                      <a:pt x="4" y="445"/>
                      <a:pt x="7" y="452"/>
                      <a:pt x="12" y="450"/>
                    </a:cubicBezTo>
                    <a:cubicBezTo>
                      <a:pt x="13" y="445"/>
                      <a:pt x="6" y="448"/>
                      <a:pt x="4" y="445"/>
                    </a:cubicBezTo>
                    <a:cubicBezTo>
                      <a:pt x="4" y="435"/>
                      <a:pt x="13" y="435"/>
                      <a:pt x="12" y="425"/>
                    </a:cubicBezTo>
                    <a:cubicBezTo>
                      <a:pt x="7" y="425"/>
                      <a:pt x="6" y="428"/>
                      <a:pt x="6" y="433"/>
                    </a:cubicBezTo>
                    <a:cubicBezTo>
                      <a:pt x="0" y="427"/>
                      <a:pt x="9" y="421"/>
                      <a:pt x="12" y="418"/>
                    </a:cubicBezTo>
                    <a:cubicBezTo>
                      <a:pt x="10" y="413"/>
                      <a:pt x="7" y="421"/>
                      <a:pt x="4" y="416"/>
                    </a:cubicBezTo>
                    <a:cubicBezTo>
                      <a:pt x="4" y="407"/>
                      <a:pt x="5" y="402"/>
                      <a:pt x="6" y="399"/>
                    </a:cubicBezTo>
                    <a:cubicBezTo>
                      <a:pt x="11" y="399"/>
                      <a:pt x="2" y="404"/>
                      <a:pt x="10" y="402"/>
                    </a:cubicBezTo>
                    <a:cubicBezTo>
                      <a:pt x="10" y="382"/>
                      <a:pt x="16" y="364"/>
                      <a:pt x="17" y="342"/>
                    </a:cubicBezTo>
                    <a:cubicBezTo>
                      <a:pt x="20" y="342"/>
                      <a:pt x="21" y="340"/>
                      <a:pt x="24" y="340"/>
                    </a:cubicBezTo>
                    <a:cubicBezTo>
                      <a:pt x="22" y="333"/>
                      <a:pt x="21" y="325"/>
                      <a:pt x="31" y="326"/>
                    </a:cubicBezTo>
                    <a:cubicBezTo>
                      <a:pt x="33" y="319"/>
                      <a:pt x="27" y="315"/>
                      <a:pt x="35" y="310"/>
                    </a:cubicBezTo>
                    <a:cubicBezTo>
                      <a:pt x="38" y="310"/>
                      <a:pt x="33" y="316"/>
                      <a:pt x="33" y="319"/>
                    </a:cubicBezTo>
                    <a:cubicBezTo>
                      <a:pt x="61" y="307"/>
                      <a:pt x="73" y="256"/>
                      <a:pt x="56" y="233"/>
                    </a:cubicBezTo>
                    <a:cubicBezTo>
                      <a:pt x="62" y="231"/>
                      <a:pt x="57" y="239"/>
                      <a:pt x="63" y="237"/>
                    </a:cubicBezTo>
                    <a:cubicBezTo>
                      <a:pt x="66" y="234"/>
                      <a:pt x="59" y="227"/>
                      <a:pt x="63" y="222"/>
                    </a:cubicBezTo>
                    <a:cubicBezTo>
                      <a:pt x="51" y="220"/>
                      <a:pt x="66" y="232"/>
                      <a:pt x="56" y="231"/>
                    </a:cubicBezTo>
                    <a:cubicBezTo>
                      <a:pt x="56" y="195"/>
                      <a:pt x="47" y="170"/>
                      <a:pt x="42" y="135"/>
                    </a:cubicBezTo>
                    <a:cubicBezTo>
                      <a:pt x="45" y="136"/>
                      <a:pt x="45" y="134"/>
                      <a:pt x="47" y="133"/>
                    </a:cubicBezTo>
                    <a:cubicBezTo>
                      <a:pt x="39" y="120"/>
                      <a:pt x="41" y="100"/>
                      <a:pt x="26" y="96"/>
                    </a:cubicBezTo>
                    <a:cubicBezTo>
                      <a:pt x="35" y="90"/>
                      <a:pt x="18" y="88"/>
                      <a:pt x="26" y="80"/>
                    </a:cubicBezTo>
                    <a:cubicBezTo>
                      <a:pt x="25" y="77"/>
                      <a:pt x="10" y="75"/>
                      <a:pt x="22" y="75"/>
                    </a:cubicBezTo>
                    <a:cubicBezTo>
                      <a:pt x="21" y="72"/>
                      <a:pt x="17" y="72"/>
                      <a:pt x="13" y="71"/>
                    </a:cubicBezTo>
                    <a:cubicBezTo>
                      <a:pt x="27" y="52"/>
                      <a:pt x="9" y="35"/>
                      <a:pt x="6" y="14"/>
                    </a:cubicBezTo>
                    <a:cubicBezTo>
                      <a:pt x="17" y="27"/>
                      <a:pt x="28" y="40"/>
                      <a:pt x="40" y="52"/>
                    </a:cubicBezTo>
                    <a:cubicBezTo>
                      <a:pt x="41" y="49"/>
                      <a:pt x="46" y="42"/>
                      <a:pt x="45" y="52"/>
                    </a:cubicBezTo>
                    <a:cubicBezTo>
                      <a:pt x="48" y="51"/>
                      <a:pt x="48" y="46"/>
                      <a:pt x="45" y="46"/>
                    </a:cubicBezTo>
                    <a:cubicBezTo>
                      <a:pt x="63" y="50"/>
                      <a:pt x="67" y="30"/>
                      <a:pt x="85" y="28"/>
                    </a:cubicBezTo>
                    <a:cubicBezTo>
                      <a:pt x="76" y="37"/>
                      <a:pt x="79" y="56"/>
                      <a:pt x="63" y="57"/>
                    </a:cubicBezTo>
                    <a:cubicBezTo>
                      <a:pt x="63" y="60"/>
                      <a:pt x="65" y="61"/>
                      <a:pt x="65" y="64"/>
                    </a:cubicBezTo>
                    <a:cubicBezTo>
                      <a:pt x="63" y="63"/>
                      <a:pt x="61" y="62"/>
                      <a:pt x="58" y="62"/>
                    </a:cubicBezTo>
                    <a:cubicBezTo>
                      <a:pt x="58" y="66"/>
                      <a:pt x="63" y="66"/>
                      <a:pt x="65" y="68"/>
                    </a:cubicBezTo>
                    <a:cubicBezTo>
                      <a:pt x="80" y="62"/>
                      <a:pt x="83" y="45"/>
                      <a:pt x="97" y="39"/>
                    </a:cubicBezTo>
                    <a:cubicBezTo>
                      <a:pt x="92" y="35"/>
                      <a:pt x="88" y="47"/>
                      <a:pt x="81" y="46"/>
                    </a:cubicBezTo>
                    <a:cubicBezTo>
                      <a:pt x="80" y="33"/>
                      <a:pt x="93" y="33"/>
                      <a:pt x="95" y="23"/>
                    </a:cubicBezTo>
                    <a:cubicBezTo>
                      <a:pt x="108" y="21"/>
                      <a:pt x="110" y="23"/>
                      <a:pt x="99" y="27"/>
                    </a:cubicBezTo>
                    <a:close/>
                    <a:moveTo>
                      <a:pt x="109" y="105"/>
                    </a:moveTo>
                    <a:cubicBezTo>
                      <a:pt x="140" y="85"/>
                      <a:pt x="159" y="54"/>
                      <a:pt x="168" y="14"/>
                    </a:cubicBezTo>
                    <a:cubicBezTo>
                      <a:pt x="164" y="15"/>
                      <a:pt x="159" y="16"/>
                      <a:pt x="156" y="18"/>
                    </a:cubicBezTo>
                    <a:cubicBezTo>
                      <a:pt x="154" y="41"/>
                      <a:pt x="134" y="43"/>
                      <a:pt x="125" y="55"/>
                    </a:cubicBezTo>
                    <a:cubicBezTo>
                      <a:pt x="124" y="75"/>
                      <a:pt x="103" y="79"/>
                      <a:pt x="97" y="100"/>
                    </a:cubicBezTo>
                    <a:cubicBezTo>
                      <a:pt x="106" y="94"/>
                      <a:pt x="115" y="89"/>
                      <a:pt x="124" y="84"/>
                    </a:cubicBezTo>
                    <a:cubicBezTo>
                      <a:pt x="120" y="91"/>
                      <a:pt x="110" y="100"/>
                      <a:pt x="109" y="105"/>
                    </a:cubicBezTo>
                    <a:close/>
                    <a:moveTo>
                      <a:pt x="83" y="68"/>
                    </a:moveTo>
                    <a:cubicBezTo>
                      <a:pt x="85" y="68"/>
                      <a:pt x="89" y="67"/>
                      <a:pt x="90" y="69"/>
                    </a:cubicBezTo>
                    <a:cubicBezTo>
                      <a:pt x="88" y="74"/>
                      <a:pt x="85" y="78"/>
                      <a:pt x="81" y="82"/>
                    </a:cubicBezTo>
                    <a:cubicBezTo>
                      <a:pt x="105" y="67"/>
                      <a:pt x="115" y="38"/>
                      <a:pt x="140" y="25"/>
                    </a:cubicBezTo>
                    <a:cubicBezTo>
                      <a:pt x="106" y="21"/>
                      <a:pt x="102" y="51"/>
                      <a:pt x="83" y="68"/>
                    </a:cubicBezTo>
                    <a:close/>
                    <a:moveTo>
                      <a:pt x="101" y="162"/>
                    </a:moveTo>
                    <a:cubicBezTo>
                      <a:pt x="121" y="158"/>
                      <a:pt x="136" y="140"/>
                      <a:pt x="136" y="123"/>
                    </a:cubicBezTo>
                    <a:cubicBezTo>
                      <a:pt x="130" y="141"/>
                      <a:pt x="113" y="150"/>
                      <a:pt x="101" y="162"/>
                    </a:cubicBezTo>
                    <a:close/>
                    <a:moveTo>
                      <a:pt x="69" y="180"/>
                    </a:moveTo>
                    <a:cubicBezTo>
                      <a:pt x="68" y="173"/>
                      <a:pt x="62" y="158"/>
                      <a:pt x="56" y="151"/>
                    </a:cubicBezTo>
                    <a:cubicBezTo>
                      <a:pt x="59" y="165"/>
                      <a:pt x="61" y="171"/>
                      <a:pt x="69" y="180"/>
                    </a:cubicBezTo>
                    <a:close/>
                    <a:moveTo>
                      <a:pt x="129" y="279"/>
                    </a:moveTo>
                    <a:cubicBezTo>
                      <a:pt x="143" y="282"/>
                      <a:pt x="157" y="267"/>
                      <a:pt x="152" y="263"/>
                    </a:cubicBezTo>
                    <a:cubicBezTo>
                      <a:pt x="145" y="270"/>
                      <a:pt x="132" y="270"/>
                      <a:pt x="129" y="279"/>
                    </a:cubicBezTo>
                    <a:close/>
                    <a:moveTo>
                      <a:pt x="142" y="351"/>
                    </a:moveTo>
                    <a:cubicBezTo>
                      <a:pt x="142" y="356"/>
                      <a:pt x="139" y="366"/>
                      <a:pt x="145" y="367"/>
                    </a:cubicBezTo>
                    <a:cubicBezTo>
                      <a:pt x="147" y="362"/>
                      <a:pt x="152" y="351"/>
                      <a:pt x="147" y="345"/>
                    </a:cubicBezTo>
                    <a:cubicBezTo>
                      <a:pt x="148" y="350"/>
                      <a:pt x="143" y="349"/>
                      <a:pt x="142" y="351"/>
                    </a:cubicBezTo>
                    <a:close/>
                    <a:moveTo>
                      <a:pt x="54" y="372"/>
                    </a:moveTo>
                    <a:cubicBezTo>
                      <a:pt x="61" y="373"/>
                      <a:pt x="61" y="368"/>
                      <a:pt x="67" y="368"/>
                    </a:cubicBezTo>
                    <a:cubicBezTo>
                      <a:pt x="65" y="360"/>
                      <a:pt x="64" y="355"/>
                      <a:pt x="63" y="349"/>
                    </a:cubicBezTo>
                    <a:cubicBezTo>
                      <a:pt x="59" y="356"/>
                      <a:pt x="56" y="359"/>
                      <a:pt x="54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0" name="Freeform 142"/>
              <p:cNvSpPr>
                <a:spLocks/>
              </p:cNvSpPr>
              <p:nvPr/>
            </p:nvSpPr>
            <p:spPr bwMode="auto">
              <a:xfrm>
                <a:off x="514" y="1884"/>
                <a:ext cx="22" cy="54"/>
              </a:xfrm>
              <a:custGeom>
                <a:avLst/>
                <a:gdLst>
                  <a:gd name="T0" fmla="*/ 12 w 18"/>
                  <a:gd name="T1" fmla="*/ 0 h 45"/>
                  <a:gd name="T2" fmla="*/ 18 w 18"/>
                  <a:gd name="T3" fmla="*/ 38 h 45"/>
                  <a:gd name="T4" fmla="*/ 0 w 18"/>
                  <a:gd name="T5" fmla="*/ 45 h 45"/>
                  <a:gd name="T6" fmla="*/ 14 w 18"/>
                  <a:gd name="T7" fmla="*/ 9 h 45"/>
                  <a:gd name="T8" fmla="*/ 12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2" y="0"/>
                    </a:moveTo>
                    <a:cubicBezTo>
                      <a:pt x="18" y="9"/>
                      <a:pt x="16" y="25"/>
                      <a:pt x="18" y="38"/>
                    </a:cubicBezTo>
                    <a:cubicBezTo>
                      <a:pt x="13" y="42"/>
                      <a:pt x="7" y="43"/>
                      <a:pt x="0" y="45"/>
                    </a:cubicBezTo>
                    <a:cubicBezTo>
                      <a:pt x="0" y="35"/>
                      <a:pt x="7" y="18"/>
                      <a:pt x="14" y="9"/>
                    </a:cubicBezTo>
                    <a:cubicBezTo>
                      <a:pt x="10" y="6"/>
                      <a:pt x="8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1" name="Freeform 143"/>
              <p:cNvSpPr>
                <a:spLocks noEditPoints="1"/>
              </p:cNvSpPr>
              <p:nvPr/>
            </p:nvSpPr>
            <p:spPr bwMode="auto">
              <a:xfrm>
                <a:off x="1575" y="1895"/>
                <a:ext cx="87" cy="110"/>
              </a:xfrm>
              <a:custGeom>
                <a:avLst/>
                <a:gdLst>
                  <a:gd name="T0" fmla="*/ 27 w 71"/>
                  <a:gd name="T1" fmla="*/ 70 h 91"/>
                  <a:gd name="T2" fmla="*/ 0 w 71"/>
                  <a:gd name="T3" fmla="*/ 86 h 91"/>
                  <a:gd name="T4" fmla="*/ 28 w 71"/>
                  <a:gd name="T5" fmla="*/ 41 h 91"/>
                  <a:gd name="T6" fmla="*/ 59 w 71"/>
                  <a:gd name="T7" fmla="*/ 4 h 91"/>
                  <a:gd name="T8" fmla="*/ 71 w 71"/>
                  <a:gd name="T9" fmla="*/ 0 h 91"/>
                  <a:gd name="T10" fmla="*/ 12 w 71"/>
                  <a:gd name="T11" fmla="*/ 91 h 91"/>
                  <a:gd name="T12" fmla="*/ 27 w 71"/>
                  <a:gd name="T13" fmla="*/ 70 h 91"/>
                  <a:gd name="T14" fmla="*/ 45 w 71"/>
                  <a:gd name="T15" fmla="*/ 39 h 91"/>
                  <a:gd name="T16" fmla="*/ 57 w 71"/>
                  <a:gd name="T17" fmla="*/ 25 h 91"/>
                  <a:gd name="T18" fmla="*/ 45 w 71"/>
                  <a:gd name="T19" fmla="*/ 39 h 91"/>
                  <a:gd name="T20" fmla="*/ 23 w 71"/>
                  <a:gd name="T21" fmla="*/ 68 h 91"/>
                  <a:gd name="T22" fmla="*/ 37 w 71"/>
                  <a:gd name="T23" fmla="*/ 46 h 91"/>
                  <a:gd name="T24" fmla="*/ 23 w 71"/>
                  <a:gd name="T2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1" h="91">
                    <a:moveTo>
                      <a:pt x="27" y="70"/>
                    </a:moveTo>
                    <a:cubicBezTo>
                      <a:pt x="18" y="75"/>
                      <a:pt x="9" y="80"/>
                      <a:pt x="0" y="86"/>
                    </a:cubicBezTo>
                    <a:cubicBezTo>
                      <a:pt x="6" y="65"/>
                      <a:pt x="27" y="61"/>
                      <a:pt x="28" y="41"/>
                    </a:cubicBezTo>
                    <a:cubicBezTo>
                      <a:pt x="37" y="29"/>
                      <a:pt x="57" y="27"/>
                      <a:pt x="59" y="4"/>
                    </a:cubicBezTo>
                    <a:cubicBezTo>
                      <a:pt x="62" y="2"/>
                      <a:pt x="67" y="1"/>
                      <a:pt x="71" y="0"/>
                    </a:cubicBezTo>
                    <a:cubicBezTo>
                      <a:pt x="62" y="40"/>
                      <a:pt x="43" y="71"/>
                      <a:pt x="12" y="91"/>
                    </a:cubicBezTo>
                    <a:cubicBezTo>
                      <a:pt x="13" y="86"/>
                      <a:pt x="23" y="77"/>
                      <a:pt x="27" y="70"/>
                    </a:cubicBezTo>
                    <a:close/>
                    <a:moveTo>
                      <a:pt x="45" y="39"/>
                    </a:moveTo>
                    <a:cubicBezTo>
                      <a:pt x="52" y="38"/>
                      <a:pt x="55" y="32"/>
                      <a:pt x="57" y="25"/>
                    </a:cubicBezTo>
                    <a:cubicBezTo>
                      <a:pt x="51" y="28"/>
                      <a:pt x="47" y="33"/>
                      <a:pt x="45" y="39"/>
                    </a:cubicBezTo>
                    <a:close/>
                    <a:moveTo>
                      <a:pt x="23" y="68"/>
                    </a:moveTo>
                    <a:cubicBezTo>
                      <a:pt x="29" y="64"/>
                      <a:pt x="45" y="52"/>
                      <a:pt x="37" y="46"/>
                    </a:cubicBezTo>
                    <a:cubicBezTo>
                      <a:pt x="38" y="57"/>
                      <a:pt x="18" y="58"/>
                      <a:pt x="2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2" name="Freeform 144"/>
              <p:cNvSpPr>
                <a:spLocks/>
              </p:cNvSpPr>
              <p:nvPr/>
            </p:nvSpPr>
            <p:spPr bwMode="auto">
              <a:xfrm>
                <a:off x="439" y="2036"/>
                <a:ext cx="17" cy="14"/>
              </a:xfrm>
              <a:custGeom>
                <a:avLst/>
                <a:gdLst>
                  <a:gd name="T0" fmla="*/ 0 w 14"/>
                  <a:gd name="T1" fmla="*/ 7 h 12"/>
                  <a:gd name="T2" fmla="*/ 14 w 14"/>
                  <a:gd name="T3" fmla="*/ 12 h 12"/>
                  <a:gd name="T4" fmla="*/ 0 w 14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7"/>
                    </a:moveTo>
                    <a:cubicBezTo>
                      <a:pt x="2" y="0"/>
                      <a:pt x="12" y="8"/>
                      <a:pt x="14" y="12"/>
                    </a:cubicBezTo>
                    <a:cubicBezTo>
                      <a:pt x="10" y="9"/>
                      <a:pt x="4" y="9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3" name="Freeform 145"/>
              <p:cNvSpPr>
                <a:spLocks/>
              </p:cNvSpPr>
              <p:nvPr/>
            </p:nvSpPr>
            <p:spPr bwMode="auto">
              <a:xfrm>
                <a:off x="1526" y="2061"/>
                <a:ext cx="15" cy="35"/>
              </a:xfrm>
              <a:custGeom>
                <a:avLst/>
                <a:gdLst>
                  <a:gd name="T0" fmla="*/ 0 w 13"/>
                  <a:gd name="T1" fmla="*/ 0 h 29"/>
                  <a:gd name="T2" fmla="*/ 13 w 13"/>
                  <a:gd name="T3" fmla="*/ 29 h 29"/>
                  <a:gd name="T4" fmla="*/ 0 w 13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29">
                    <a:moveTo>
                      <a:pt x="0" y="0"/>
                    </a:moveTo>
                    <a:cubicBezTo>
                      <a:pt x="6" y="7"/>
                      <a:pt x="12" y="22"/>
                      <a:pt x="13" y="29"/>
                    </a:cubicBezTo>
                    <a:cubicBezTo>
                      <a:pt x="5" y="20"/>
                      <a:pt x="3" y="14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4" name="Freeform 146"/>
              <p:cNvSpPr>
                <a:spLocks/>
              </p:cNvSpPr>
              <p:nvPr/>
            </p:nvSpPr>
            <p:spPr bwMode="auto">
              <a:xfrm>
                <a:off x="602" y="2219"/>
                <a:ext cx="23" cy="46"/>
              </a:xfrm>
              <a:custGeom>
                <a:avLst/>
                <a:gdLst>
                  <a:gd name="T0" fmla="*/ 15 w 19"/>
                  <a:gd name="T1" fmla="*/ 0 h 38"/>
                  <a:gd name="T2" fmla="*/ 1 w 19"/>
                  <a:gd name="T3" fmla="*/ 38 h 38"/>
                  <a:gd name="T4" fmla="*/ 15 w 19"/>
                  <a:gd name="T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38">
                    <a:moveTo>
                      <a:pt x="15" y="0"/>
                    </a:moveTo>
                    <a:cubicBezTo>
                      <a:pt x="19" y="14"/>
                      <a:pt x="5" y="25"/>
                      <a:pt x="1" y="38"/>
                    </a:cubicBezTo>
                    <a:cubicBezTo>
                      <a:pt x="0" y="27"/>
                      <a:pt x="12" y="13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5" name="Freeform 147"/>
              <p:cNvSpPr>
                <a:spLocks/>
              </p:cNvSpPr>
              <p:nvPr/>
            </p:nvSpPr>
            <p:spPr bwMode="auto">
              <a:xfrm>
                <a:off x="582" y="2379"/>
                <a:ext cx="37" cy="91"/>
              </a:xfrm>
              <a:custGeom>
                <a:avLst/>
                <a:gdLst>
                  <a:gd name="T0" fmla="*/ 12 w 30"/>
                  <a:gd name="T1" fmla="*/ 0 h 75"/>
                  <a:gd name="T2" fmla="*/ 28 w 30"/>
                  <a:gd name="T3" fmla="*/ 75 h 75"/>
                  <a:gd name="T4" fmla="*/ 12 w 30"/>
                  <a:gd name="T5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75">
                    <a:moveTo>
                      <a:pt x="12" y="0"/>
                    </a:moveTo>
                    <a:cubicBezTo>
                      <a:pt x="30" y="24"/>
                      <a:pt x="8" y="54"/>
                      <a:pt x="28" y="75"/>
                    </a:cubicBezTo>
                    <a:cubicBezTo>
                      <a:pt x="0" y="67"/>
                      <a:pt x="6" y="2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6" name="Freeform 148"/>
              <p:cNvSpPr>
                <a:spLocks/>
              </p:cNvSpPr>
              <p:nvPr/>
            </p:nvSpPr>
            <p:spPr bwMode="auto">
              <a:xfrm>
                <a:off x="1484" y="2457"/>
                <a:ext cx="11" cy="11"/>
              </a:xfrm>
              <a:custGeom>
                <a:avLst/>
                <a:gdLst>
                  <a:gd name="T0" fmla="*/ 0 w 9"/>
                  <a:gd name="T1" fmla="*/ 2 h 9"/>
                  <a:gd name="T2" fmla="*/ 9 w 9"/>
                  <a:gd name="T3" fmla="*/ 2 h 9"/>
                  <a:gd name="T4" fmla="*/ 6 w 9"/>
                  <a:gd name="T5" fmla="*/ 4 h 9"/>
                  <a:gd name="T6" fmla="*/ 7 w 9"/>
                  <a:gd name="T7" fmla="*/ 9 h 9"/>
                  <a:gd name="T8" fmla="*/ 0 w 9"/>
                  <a:gd name="T9" fmla="*/ 9 h 9"/>
                  <a:gd name="T10" fmla="*/ 0 w 9"/>
                  <a:gd name="T1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0" y="2"/>
                    </a:moveTo>
                    <a:cubicBezTo>
                      <a:pt x="2" y="0"/>
                      <a:pt x="6" y="0"/>
                      <a:pt x="9" y="2"/>
                    </a:cubicBezTo>
                    <a:cubicBezTo>
                      <a:pt x="9" y="4"/>
                      <a:pt x="7" y="3"/>
                      <a:pt x="6" y="4"/>
                    </a:cubicBezTo>
                    <a:cubicBezTo>
                      <a:pt x="7" y="5"/>
                      <a:pt x="7" y="6"/>
                      <a:pt x="7" y="9"/>
                    </a:cubicBezTo>
                    <a:cubicBezTo>
                      <a:pt x="5" y="9"/>
                      <a:pt x="3" y="9"/>
                      <a:pt x="0" y="9"/>
                    </a:cubicBezTo>
                    <a:cubicBezTo>
                      <a:pt x="2" y="6"/>
                      <a:pt x="6" y="3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7" name="Freeform 149"/>
              <p:cNvSpPr>
                <a:spLocks/>
              </p:cNvSpPr>
              <p:nvPr/>
            </p:nvSpPr>
            <p:spPr bwMode="auto">
              <a:xfrm>
                <a:off x="1439" y="2521"/>
                <a:ext cx="50" cy="83"/>
              </a:xfrm>
              <a:custGeom>
                <a:avLst/>
                <a:gdLst>
                  <a:gd name="T0" fmla="*/ 30 w 41"/>
                  <a:gd name="T1" fmla="*/ 29 h 68"/>
                  <a:gd name="T2" fmla="*/ 28 w 41"/>
                  <a:gd name="T3" fmla="*/ 27 h 68"/>
                  <a:gd name="T4" fmla="*/ 27 w 41"/>
                  <a:gd name="T5" fmla="*/ 40 h 68"/>
                  <a:gd name="T6" fmla="*/ 18 w 41"/>
                  <a:gd name="T7" fmla="*/ 43 h 68"/>
                  <a:gd name="T8" fmla="*/ 3 w 41"/>
                  <a:gd name="T9" fmla="*/ 68 h 68"/>
                  <a:gd name="T10" fmla="*/ 0 w 41"/>
                  <a:gd name="T11" fmla="*/ 54 h 68"/>
                  <a:gd name="T12" fmla="*/ 12 w 41"/>
                  <a:gd name="T13" fmla="*/ 38 h 68"/>
                  <a:gd name="T14" fmla="*/ 21 w 41"/>
                  <a:gd name="T15" fmla="*/ 40 h 68"/>
                  <a:gd name="T16" fmla="*/ 16 w 41"/>
                  <a:gd name="T17" fmla="*/ 31 h 68"/>
                  <a:gd name="T18" fmla="*/ 23 w 41"/>
                  <a:gd name="T19" fmla="*/ 29 h 68"/>
                  <a:gd name="T20" fmla="*/ 35 w 41"/>
                  <a:gd name="T21" fmla="*/ 0 h 68"/>
                  <a:gd name="T22" fmla="*/ 41 w 41"/>
                  <a:gd name="T23" fmla="*/ 8 h 68"/>
                  <a:gd name="T24" fmla="*/ 28 w 41"/>
                  <a:gd name="T25" fmla="*/ 20 h 68"/>
                  <a:gd name="T26" fmla="*/ 30 w 41"/>
                  <a:gd name="T27" fmla="*/ 32 h 68"/>
                  <a:gd name="T28" fmla="*/ 30 w 41"/>
                  <a:gd name="T29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1" h="68">
                    <a:moveTo>
                      <a:pt x="30" y="29"/>
                    </a:moveTo>
                    <a:cubicBezTo>
                      <a:pt x="30" y="27"/>
                      <a:pt x="29" y="27"/>
                      <a:pt x="28" y="27"/>
                    </a:cubicBezTo>
                    <a:cubicBezTo>
                      <a:pt x="23" y="31"/>
                      <a:pt x="30" y="35"/>
                      <a:pt x="27" y="40"/>
                    </a:cubicBezTo>
                    <a:cubicBezTo>
                      <a:pt x="22" y="42"/>
                      <a:pt x="22" y="39"/>
                      <a:pt x="18" y="43"/>
                    </a:cubicBezTo>
                    <a:cubicBezTo>
                      <a:pt x="29" y="46"/>
                      <a:pt x="7" y="67"/>
                      <a:pt x="3" y="68"/>
                    </a:cubicBezTo>
                    <a:cubicBezTo>
                      <a:pt x="5" y="63"/>
                      <a:pt x="7" y="54"/>
                      <a:pt x="0" y="54"/>
                    </a:cubicBezTo>
                    <a:cubicBezTo>
                      <a:pt x="4" y="50"/>
                      <a:pt x="14" y="52"/>
                      <a:pt x="12" y="38"/>
                    </a:cubicBezTo>
                    <a:cubicBezTo>
                      <a:pt x="17" y="36"/>
                      <a:pt x="17" y="40"/>
                      <a:pt x="21" y="40"/>
                    </a:cubicBezTo>
                    <a:cubicBezTo>
                      <a:pt x="14" y="35"/>
                      <a:pt x="27" y="32"/>
                      <a:pt x="16" y="31"/>
                    </a:cubicBezTo>
                    <a:cubicBezTo>
                      <a:pt x="10" y="29"/>
                      <a:pt x="21" y="29"/>
                      <a:pt x="23" y="29"/>
                    </a:cubicBezTo>
                    <a:cubicBezTo>
                      <a:pt x="23" y="15"/>
                      <a:pt x="33" y="12"/>
                      <a:pt x="35" y="0"/>
                    </a:cubicBezTo>
                    <a:cubicBezTo>
                      <a:pt x="38" y="2"/>
                      <a:pt x="41" y="3"/>
                      <a:pt x="41" y="8"/>
                    </a:cubicBezTo>
                    <a:cubicBezTo>
                      <a:pt x="35" y="10"/>
                      <a:pt x="30" y="14"/>
                      <a:pt x="28" y="20"/>
                    </a:cubicBezTo>
                    <a:cubicBezTo>
                      <a:pt x="30" y="25"/>
                      <a:pt x="33" y="26"/>
                      <a:pt x="30" y="32"/>
                    </a:cubicBezTo>
                    <a:cubicBezTo>
                      <a:pt x="28" y="32"/>
                      <a:pt x="28" y="29"/>
                      <a:pt x="30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8" name="Freeform 150"/>
              <p:cNvSpPr>
                <a:spLocks/>
              </p:cNvSpPr>
              <p:nvPr/>
            </p:nvSpPr>
            <p:spPr bwMode="auto">
              <a:xfrm>
                <a:off x="1424" y="2593"/>
                <a:ext cx="19" cy="29"/>
              </a:xfrm>
              <a:custGeom>
                <a:avLst/>
                <a:gdLst>
                  <a:gd name="T0" fmla="*/ 2 w 16"/>
                  <a:gd name="T1" fmla="*/ 16 h 24"/>
                  <a:gd name="T2" fmla="*/ 8 w 16"/>
                  <a:gd name="T3" fmla="*/ 0 h 24"/>
                  <a:gd name="T4" fmla="*/ 15 w 16"/>
                  <a:gd name="T5" fmla="*/ 13 h 24"/>
                  <a:gd name="T6" fmla="*/ 8 w 16"/>
                  <a:gd name="T7" fmla="*/ 18 h 24"/>
                  <a:gd name="T8" fmla="*/ 2 w 16"/>
                  <a:gd name="T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4">
                    <a:moveTo>
                      <a:pt x="2" y="16"/>
                    </a:moveTo>
                    <a:cubicBezTo>
                      <a:pt x="0" y="6"/>
                      <a:pt x="13" y="9"/>
                      <a:pt x="8" y="0"/>
                    </a:cubicBezTo>
                    <a:cubicBezTo>
                      <a:pt x="16" y="2"/>
                      <a:pt x="10" y="7"/>
                      <a:pt x="15" y="13"/>
                    </a:cubicBezTo>
                    <a:cubicBezTo>
                      <a:pt x="11" y="14"/>
                      <a:pt x="3" y="14"/>
                      <a:pt x="8" y="18"/>
                    </a:cubicBezTo>
                    <a:cubicBezTo>
                      <a:pt x="6" y="24"/>
                      <a:pt x="7" y="13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9" name="Freeform 151"/>
              <p:cNvSpPr>
                <a:spLocks/>
              </p:cNvSpPr>
              <p:nvPr/>
            </p:nvSpPr>
            <p:spPr bwMode="auto">
              <a:xfrm>
                <a:off x="1343" y="2656"/>
                <a:ext cx="38" cy="27"/>
              </a:xfrm>
              <a:custGeom>
                <a:avLst/>
                <a:gdLst>
                  <a:gd name="T0" fmla="*/ 24 w 31"/>
                  <a:gd name="T1" fmla="*/ 0 h 22"/>
                  <a:gd name="T2" fmla="*/ 17 w 31"/>
                  <a:gd name="T3" fmla="*/ 18 h 22"/>
                  <a:gd name="T4" fmla="*/ 13 w 31"/>
                  <a:gd name="T5" fmla="*/ 7 h 22"/>
                  <a:gd name="T6" fmla="*/ 24 w 31"/>
                  <a:gd name="T7" fmla="*/ 7 h 22"/>
                  <a:gd name="T8" fmla="*/ 24 w 3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24" y="0"/>
                    </a:moveTo>
                    <a:cubicBezTo>
                      <a:pt x="31" y="2"/>
                      <a:pt x="15" y="17"/>
                      <a:pt x="17" y="18"/>
                    </a:cubicBezTo>
                    <a:cubicBezTo>
                      <a:pt x="14" y="22"/>
                      <a:pt x="0" y="7"/>
                      <a:pt x="13" y="7"/>
                    </a:cubicBezTo>
                    <a:cubicBezTo>
                      <a:pt x="14" y="12"/>
                      <a:pt x="17" y="6"/>
                      <a:pt x="24" y="7"/>
                    </a:cubicBezTo>
                    <a:cubicBezTo>
                      <a:pt x="21" y="3"/>
                      <a:pt x="24" y="5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0" name="Freeform 152"/>
              <p:cNvSpPr>
                <a:spLocks/>
              </p:cNvSpPr>
              <p:nvPr/>
            </p:nvSpPr>
            <p:spPr bwMode="auto">
              <a:xfrm>
                <a:off x="490" y="3091"/>
                <a:ext cx="37" cy="22"/>
              </a:xfrm>
              <a:custGeom>
                <a:avLst/>
                <a:gdLst>
                  <a:gd name="T0" fmla="*/ 0 w 31"/>
                  <a:gd name="T1" fmla="*/ 5 h 18"/>
                  <a:gd name="T2" fmla="*/ 31 w 31"/>
                  <a:gd name="T3" fmla="*/ 12 h 18"/>
                  <a:gd name="T4" fmla="*/ 0 w 31"/>
                  <a:gd name="T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18">
                    <a:moveTo>
                      <a:pt x="0" y="5"/>
                    </a:moveTo>
                    <a:cubicBezTo>
                      <a:pt x="4" y="0"/>
                      <a:pt x="20" y="12"/>
                      <a:pt x="31" y="12"/>
                    </a:cubicBezTo>
                    <a:cubicBezTo>
                      <a:pt x="20" y="18"/>
                      <a:pt x="11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1" name="Freeform 153"/>
              <p:cNvSpPr>
                <a:spLocks/>
              </p:cNvSpPr>
              <p:nvPr/>
            </p:nvSpPr>
            <p:spPr bwMode="auto">
              <a:xfrm>
                <a:off x="625" y="3125"/>
                <a:ext cx="36" cy="53"/>
              </a:xfrm>
              <a:custGeom>
                <a:avLst/>
                <a:gdLst>
                  <a:gd name="T0" fmla="*/ 21 w 30"/>
                  <a:gd name="T1" fmla="*/ 43 h 43"/>
                  <a:gd name="T2" fmla="*/ 0 w 30"/>
                  <a:gd name="T3" fmla="*/ 30 h 43"/>
                  <a:gd name="T4" fmla="*/ 21 w 30"/>
                  <a:gd name="T5" fmla="*/ 37 h 43"/>
                  <a:gd name="T6" fmla="*/ 21 w 30"/>
                  <a:gd name="T7" fmla="*/ 25 h 43"/>
                  <a:gd name="T8" fmla="*/ 26 w 30"/>
                  <a:gd name="T9" fmla="*/ 18 h 43"/>
                  <a:gd name="T10" fmla="*/ 21 w 30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21" y="43"/>
                    </a:moveTo>
                    <a:cubicBezTo>
                      <a:pt x="12" y="40"/>
                      <a:pt x="7" y="34"/>
                      <a:pt x="0" y="30"/>
                    </a:cubicBezTo>
                    <a:cubicBezTo>
                      <a:pt x="8" y="25"/>
                      <a:pt x="13" y="37"/>
                      <a:pt x="21" y="37"/>
                    </a:cubicBezTo>
                    <a:cubicBezTo>
                      <a:pt x="26" y="35"/>
                      <a:pt x="21" y="28"/>
                      <a:pt x="21" y="25"/>
                    </a:cubicBezTo>
                    <a:cubicBezTo>
                      <a:pt x="23" y="23"/>
                      <a:pt x="25" y="20"/>
                      <a:pt x="26" y="18"/>
                    </a:cubicBezTo>
                    <a:cubicBezTo>
                      <a:pt x="30" y="0"/>
                      <a:pt x="30" y="42"/>
                      <a:pt x="2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2" name="Freeform 154"/>
              <p:cNvSpPr>
                <a:spLocks/>
              </p:cNvSpPr>
              <p:nvPr/>
            </p:nvSpPr>
            <p:spPr bwMode="auto">
              <a:xfrm>
                <a:off x="1331" y="3139"/>
                <a:ext cx="223" cy="161"/>
              </a:xfrm>
              <a:custGeom>
                <a:avLst/>
                <a:gdLst>
                  <a:gd name="T0" fmla="*/ 0 w 183"/>
                  <a:gd name="T1" fmla="*/ 133 h 133"/>
                  <a:gd name="T2" fmla="*/ 85 w 183"/>
                  <a:gd name="T3" fmla="*/ 0 h 133"/>
                  <a:gd name="T4" fmla="*/ 87 w 183"/>
                  <a:gd name="T5" fmla="*/ 26 h 133"/>
                  <a:gd name="T6" fmla="*/ 183 w 183"/>
                  <a:gd name="T7" fmla="*/ 16 h 133"/>
                  <a:gd name="T8" fmla="*/ 119 w 183"/>
                  <a:gd name="T9" fmla="*/ 44 h 133"/>
                  <a:gd name="T10" fmla="*/ 100 w 183"/>
                  <a:gd name="T11" fmla="*/ 55 h 133"/>
                  <a:gd name="T12" fmla="*/ 108 w 183"/>
                  <a:gd name="T13" fmla="*/ 32 h 133"/>
                  <a:gd name="T14" fmla="*/ 80 w 183"/>
                  <a:gd name="T15" fmla="*/ 43 h 133"/>
                  <a:gd name="T16" fmla="*/ 87 w 183"/>
                  <a:gd name="T17" fmla="*/ 51 h 133"/>
                  <a:gd name="T18" fmla="*/ 87 w 183"/>
                  <a:gd name="T19" fmla="*/ 59 h 133"/>
                  <a:gd name="T20" fmla="*/ 82 w 183"/>
                  <a:gd name="T21" fmla="*/ 59 h 133"/>
                  <a:gd name="T22" fmla="*/ 50 w 183"/>
                  <a:gd name="T23" fmla="*/ 99 h 133"/>
                  <a:gd name="T24" fmla="*/ 50 w 183"/>
                  <a:gd name="T25" fmla="*/ 91 h 133"/>
                  <a:gd name="T26" fmla="*/ 43 w 183"/>
                  <a:gd name="T27" fmla="*/ 96 h 133"/>
                  <a:gd name="T28" fmla="*/ 48 w 183"/>
                  <a:gd name="T29" fmla="*/ 101 h 133"/>
                  <a:gd name="T30" fmla="*/ 0 w 183"/>
                  <a:gd name="T3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33">
                    <a:moveTo>
                      <a:pt x="0" y="133"/>
                    </a:moveTo>
                    <a:cubicBezTo>
                      <a:pt x="17" y="84"/>
                      <a:pt x="77" y="63"/>
                      <a:pt x="85" y="0"/>
                    </a:cubicBezTo>
                    <a:cubicBezTo>
                      <a:pt x="94" y="3"/>
                      <a:pt x="89" y="18"/>
                      <a:pt x="87" y="26"/>
                    </a:cubicBezTo>
                    <a:cubicBezTo>
                      <a:pt x="117" y="36"/>
                      <a:pt x="156" y="3"/>
                      <a:pt x="183" y="16"/>
                    </a:cubicBezTo>
                    <a:cubicBezTo>
                      <a:pt x="162" y="24"/>
                      <a:pt x="140" y="48"/>
                      <a:pt x="119" y="44"/>
                    </a:cubicBezTo>
                    <a:cubicBezTo>
                      <a:pt x="112" y="51"/>
                      <a:pt x="110" y="55"/>
                      <a:pt x="100" y="55"/>
                    </a:cubicBezTo>
                    <a:cubicBezTo>
                      <a:pt x="102" y="48"/>
                      <a:pt x="112" y="40"/>
                      <a:pt x="108" y="32"/>
                    </a:cubicBezTo>
                    <a:cubicBezTo>
                      <a:pt x="97" y="36"/>
                      <a:pt x="94" y="43"/>
                      <a:pt x="80" y="43"/>
                    </a:cubicBezTo>
                    <a:cubicBezTo>
                      <a:pt x="79" y="48"/>
                      <a:pt x="82" y="51"/>
                      <a:pt x="87" y="51"/>
                    </a:cubicBezTo>
                    <a:cubicBezTo>
                      <a:pt x="87" y="54"/>
                      <a:pt x="79" y="59"/>
                      <a:pt x="87" y="59"/>
                    </a:cubicBezTo>
                    <a:cubicBezTo>
                      <a:pt x="89" y="65"/>
                      <a:pt x="82" y="60"/>
                      <a:pt x="82" y="59"/>
                    </a:cubicBezTo>
                    <a:cubicBezTo>
                      <a:pt x="76" y="77"/>
                      <a:pt x="63" y="89"/>
                      <a:pt x="50" y="99"/>
                    </a:cubicBezTo>
                    <a:cubicBezTo>
                      <a:pt x="52" y="97"/>
                      <a:pt x="52" y="93"/>
                      <a:pt x="50" y="91"/>
                    </a:cubicBezTo>
                    <a:cubicBezTo>
                      <a:pt x="46" y="91"/>
                      <a:pt x="46" y="95"/>
                      <a:pt x="43" y="96"/>
                    </a:cubicBezTo>
                    <a:cubicBezTo>
                      <a:pt x="44" y="98"/>
                      <a:pt x="45" y="100"/>
                      <a:pt x="48" y="101"/>
                    </a:cubicBezTo>
                    <a:cubicBezTo>
                      <a:pt x="33" y="104"/>
                      <a:pt x="11" y="117"/>
                      <a:pt x="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3" name="Freeform 155"/>
              <p:cNvSpPr>
                <a:spLocks noEditPoints="1"/>
              </p:cNvSpPr>
              <p:nvPr/>
            </p:nvSpPr>
            <p:spPr bwMode="auto">
              <a:xfrm>
                <a:off x="1292" y="3191"/>
                <a:ext cx="487" cy="283"/>
              </a:xfrm>
              <a:custGeom>
                <a:avLst/>
                <a:gdLst>
                  <a:gd name="T0" fmla="*/ 260 w 401"/>
                  <a:gd name="T1" fmla="*/ 62 h 233"/>
                  <a:gd name="T2" fmla="*/ 270 w 401"/>
                  <a:gd name="T3" fmla="*/ 56 h 233"/>
                  <a:gd name="T4" fmla="*/ 283 w 401"/>
                  <a:gd name="T5" fmla="*/ 71 h 233"/>
                  <a:gd name="T6" fmla="*/ 279 w 401"/>
                  <a:gd name="T7" fmla="*/ 48 h 233"/>
                  <a:gd name="T8" fmla="*/ 292 w 401"/>
                  <a:gd name="T9" fmla="*/ 51 h 233"/>
                  <a:gd name="T10" fmla="*/ 278 w 401"/>
                  <a:gd name="T11" fmla="*/ 0 h 233"/>
                  <a:gd name="T12" fmla="*/ 368 w 401"/>
                  <a:gd name="T13" fmla="*/ 131 h 233"/>
                  <a:gd name="T14" fmla="*/ 390 w 401"/>
                  <a:gd name="T15" fmla="*/ 202 h 233"/>
                  <a:gd name="T16" fmla="*/ 368 w 401"/>
                  <a:gd name="T17" fmla="*/ 185 h 233"/>
                  <a:gd name="T18" fmla="*/ 367 w 401"/>
                  <a:gd name="T19" fmla="*/ 165 h 233"/>
                  <a:gd name="T20" fmla="*/ 274 w 401"/>
                  <a:gd name="T21" fmla="*/ 151 h 233"/>
                  <a:gd name="T22" fmla="*/ 292 w 401"/>
                  <a:gd name="T23" fmla="*/ 163 h 233"/>
                  <a:gd name="T24" fmla="*/ 286 w 401"/>
                  <a:gd name="T25" fmla="*/ 165 h 233"/>
                  <a:gd name="T26" fmla="*/ 399 w 401"/>
                  <a:gd name="T27" fmla="*/ 210 h 233"/>
                  <a:gd name="T28" fmla="*/ 285 w 401"/>
                  <a:gd name="T29" fmla="*/ 179 h 233"/>
                  <a:gd name="T30" fmla="*/ 274 w 401"/>
                  <a:gd name="T31" fmla="*/ 172 h 233"/>
                  <a:gd name="T32" fmla="*/ 183 w 401"/>
                  <a:gd name="T33" fmla="*/ 149 h 233"/>
                  <a:gd name="T34" fmla="*/ 174 w 401"/>
                  <a:gd name="T35" fmla="*/ 133 h 233"/>
                  <a:gd name="T36" fmla="*/ 197 w 401"/>
                  <a:gd name="T37" fmla="*/ 227 h 233"/>
                  <a:gd name="T38" fmla="*/ 194 w 401"/>
                  <a:gd name="T39" fmla="*/ 233 h 233"/>
                  <a:gd name="T40" fmla="*/ 171 w 401"/>
                  <a:gd name="T41" fmla="*/ 233 h 233"/>
                  <a:gd name="T42" fmla="*/ 151 w 401"/>
                  <a:gd name="T43" fmla="*/ 176 h 233"/>
                  <a:gd name="T44" fmla="*/ 148 w 401"/>
                  <a:gd name="T45" fmla="*/ 190 h 233"/>
                  <a:gd name="T46" fmla="*/ 137 w 401"/>
                  <a:gd name="T47" fmla="*/ 181 h 233"/>
                  <a:gd name="T48" fmla="*/ 124 w 401"/>
                  <a:gd name="T49" fmla="*/ 195 h 233"/>
                  <a:gd name="T50" fmla="*/ 98 w 401"/>
                  <a:gd name="T51" fmla="*/ 181 h 233"/>
                  <a:gd name="T52" fmla="*/ 87 w 401"/>
                  <a:gd name="T53" fmla="*/ 186 h 233"/>
                  <a:gd name="T54" fmla="*/ 89 w 401"/>
                  <a:gd name="T55" fmla="*/ 210 h 233"/>
                  <a:gd name="T56" fmla="*/ 78 w 401"/>
                  <a:gd name="T57" fmla="*/ 213 h 233"/>
                  <a:gd name="T58" fmla="*/ 87 w 401"/>
                  <a:gd name="T59" fmla="*/ 220 h 233"/>
                  <a:gd name="T60" fmla="*/ 43 w 401"/>
                  <a:gd name="T61" fmla="*/ 202 h 233"/>
                  <a:gd name="T62" fmla="*/ 0 w 401"/>
                  <a:gd name="T63" fmla="*/ 188 h 233"/>
                  <a:gd name="T64" fmla="*/ 60 w 401"/>
                  <a:gd name="T65" fmla="*/ 178 h 233"/>
                  <a:gd name="T66" fmla="*/ 53 w 401"/>
                  <a:gd name="T67" fmla="*/ 174 h 233"/>
                  <a:gd name="T68" fmla="*/ 59 w 401"/>
                  <a:gd name="T69" fmla="*/ 165 h 233"/>
                  <a:gd name="T70" fmla="*/ 69 w 401"/>
                  <a:gd name="T71" fmla="*/ 165 h 233"/>
                  <a:gd name="T72" fmla="*/ 101 w 401"/>
                  <a:gd name="T73" fmla="*/ 145 h 233"/>
                  <a:gd name="T74" fmla="*/ 116 w 401"/>
                  <a:gd name="T75" fmla="*/ 151 h 233"/>
                  <a:gd name="T76" fmla="*/ 107 w 401"/>
                  <a:gd name="T77" fmla="*/ 121 h 233"/>
                  <a:gd name="T78" fmla="*/ 121 w 401"/>
                  <a:gd name="T79" fmla="*/ 96 h 233"/>
                  <a:gd name="T80" fmla="*/ 132 w 401"/>
                  <a:gd name="T81" fmla="*/ 53 h 233"/>
                  <a:gd name="T82" fmla="*/ 169 w 401"/>
                  <a:gd name="T83" fmla="*/ 128 h 233"/>
                  <a:gd name="T84" fmla="*/ 244 w 401"/>
                  <a:gd name="T85" fmla="*/ 149 h 233"/>
                  <a:gd name="T86" fmla="*/ 222 w 401"/>
                  <a:gd name="T87" fmla="*/ 129 h 233"/>
                  <a:gd name="T88" fmla="*/ 171 w 401"/>
                  <a:gd name="T89" fmla="*/ 119 h 233"/>
                  <a:gd name="T90" fmla="*/ 165 w 401"/>
                  <a:gd name="T91" fmla="*/ 99 h 233"/>
                  <a:gd name="T92" fmla="*/ 226 w 401"/>
                  <a:gd name="T93" fmla="*/ 78 h 233"/>
                  <a:gd name="T94" fmla="*/ 251 w 401"/>
                  <a:gd name="T95" fmla="*/ 80 h 233"/>
                  <a:gd name="T96" fmla="*/ 226 w 401"/>
                  <a:gd name="T97" fmla="*/ 62 h 233"/>
                  <a:gd name="T98" fmla="*/ 228 w 401"/>
                  <a:gd name="T99" fmla="*/ 64 h 233"/>
                  <a:gd name="T100" fmla="*/ 260 w 401"/>
                  <a:gd name="T101" fmla="*/ 62 h 233"/>
                  <a:gd name="T102" fmla="*/ 126 w 401"/>
                  <a:gd name="T103" fmla="*/ 176 h 233"/>
                  <a:gd name="T104" fmla="*/ 114 w 401"/>
                  <a:gd name="T105" fmla="*/ 174 h 233"/>
                  <a:gd name="T106" fmla="*/ 126 w 401"/>
                  <a:gd name="T107" fmla="*/ 176 h 233"/>
                  <a:gd name="T108" fmla="*/ 73 w 401"/>
                  <a:gd name="T109" fmla="*/ 199 h 233"/>
                  <a:gd name="T110" fmla="*/ 62 w 401"/>
                  <a:gd name="T111" fmla="*/ 192 h 233"/>
                  <a:gd name="T112" fmla="*/ 73 w 401"/>
                  <a:gd name="T113" fmla="*/ 19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1" h="233">
                    <a:moveTo>
                      <a:pt x="260" y="62"/>
                    </a:moveTo>
                    <a:cubicBezTo>
                      <a:pt x="266" y="63"/>
                      <a:pt x="264" y="56"/>
                      <a:pt x="270" y="56"/>
                    </a:cubicBezTo>
                    <a:cubicBezTo>
                      <a:pt x="273" y="63"/>
                      <a:pt x="275" y="69"/>
                      <a:pt x="283" y="71"/>
                    </a:cubicBezTo>
                    <a:cubicBezTo>
                      <a:pt x="288" y="63"/>
                      <a:pt x="276" y="59"/>
                      <a:pt x="279" y="48"/>
                    </a:cubicBezTo>
                    <a:cubicBezTo>
                      <a:pt x="285" y="47"/>
                      <a:pt x="284" y="53"/>
                      <a:pt x="292" y="51"/>
                    </a:cubicBezTo>
                    <a:cubicBezTo>
                      <a:pt x="288" y="38"/>
                      <a:pt x="287" y="15"/>
                      <a:pt x="278" y="0"/>
                    </a:cubicBezTo>
                    <a:cubicBezTo>
                      <a:pt x="312" y="29"/>
                      <a:pt x="346" y="84"/>
                      <a:pt x="368" y="131"/>
                    </a:cubicBezTo>
                    <a:cubicBezTo>
                      <a:pt x="378" y="153"/>
                      <a:pt x="401" y="176"/>
                      <a:pt x="390" y="202"/>
                    </a:cubicBezTo>
                    <a:cubicBezTo>
                      <a:pt x="385" y="194"/>
                      <a:pt x="378" y="188"/>
                      <a:pt x="368" y="185"/>
                    </a:cubicBezTo>
                    <a:cubicBezTo>
                      <a:pt x="372" y="177"/>
                      <a:pt x="370" y="174"/>
                      <a:pt x="367" y="165"/>
                    </a:cubicBezTo>
                    <a:cubicBezTo>
                      <a:pt x="338" y="158"/>
                      <a:pt x="303" y="140"/>
                      <a:pt x="274" y="151"/>
                    </a:cubicBezTo>
                    <a:cubicBezTo>
                      <a:pt x="274" y="161"/>
                      <a:pt x="286" y="159"/>
                      <a:pt x="292" y="163"/>
                    </a:cubicBezTo>
                    <a:cubicBezTo>
                      <a:pt x="291" y="165"/>
                      <a:pt x="289" y="165"/>
                      <a:pt x="286" y="165"/>
                    </a:cubicBezTo>
                    <a:cubicBezTo>
                      <a:pt x="321" y="183"/>
                      <a:pt x="361" y="195"/>
                      <a:pt x="399" y="210"/>
                    </a:cubicBezTo>
                    <a:cubicBezTo>
                      <a:pt x="353" y="214"/>
                      <a:pt x="331" y="180"/>
                      <a:pt x="285" y="179"/>
                    </a:cubicBezTo>
                    <a:cubicBezTo>
                      <a:pt x="282" y="176"/>
                      <a:pt x="276" y="176"/>
                      <a:pt x="274" y="172"/>
                    </a:cubicBezTo>
                    <a:cubicBezTo>
                      <a:pt x="241" y="168"/>
                      <a:pt x="216" y="147"/>
                      <a:pt x="183" y="149"/>
                    </a:cubicBezTo>
                    <a:cubicBezTo>
                      <a:pt x="178" y="146"/>
                      <a:pt x="178" y="137"/>
                      <a:pt x="174" y="133"/>
                    </a:cubicBezTo>
                    <a:cubicBezTo>
                      <a:pt x="175" y="164"/>
                      <a:pt x="192" y="195"/>
                      <a:pt x="197" y="227"/>
                    </a:cubicBezTo>
                    <a:cubicBezTo>
                      <a:pt x="194" y="227"/>
                      <a:pt x="194" y="230"/>
                      <a:pt x="194" y="233"/>
                    </a:cubicBezTo>
                    <a:cubicBezTo>
                      <a:pt x="186" y="233"/>
                      <a:pt x="178" y="233"/>
                      <a:pt x="171" y="233"/>
                    </a:cubicBezTo>
                    <a:cubicBezTo>
                      <a:pt x="161" y="213"/>
                      <a:pt x="173" y="183"/>
                      <a:pt x="151" y="176"/>
                    </a:cubicBezTo>
                    <a:cubicBezTo>
                      <a:pt x="148" y="181"/>
                      <a:pt x="152" y="185"/>
                      <a:pt x="148" y="190"/>
                    </a:cubicBezTo>
                    <a:cubicBezTo>
                      <a:pt x="142" y="189"/>
                      <a:pt x="140" y="185"/>
                      <a:pt x="137" y="181"/>
                    </a:cubicBezTo>
                    <a:cubicBezTo>
                      <a:pt x="128" y="181"/>
                      <a:pt x="132" y="194"/>
                      <a:pt x="124" y="195"/>
                    </a:cubicBezTo>
                    <a:cubicBezTo>
                      <a:pt x="116" y="187"/>
                      <a:pt x="106" y="190"/>
                      <a:pt x="98" y="181"/>
                    </a:cubicBezTo>
                    <a:cubicBezTo>
                      <a:pt x="95" y="184"/>
                      <a:pt x="91" y="185"/>
                      <a:pt x="87" y="186"/>
                    </a:cubicBezTo>
                    <a:cubicBezTo>
                      <a:pt x="87" y="194"/>
                      <a:pt x="91" y="200"/>
                      <a:pt x="89" y="210"/>
                    </a:cubicBezTo>
                    <a:cubicBezTo>
                      <a:pt x="87" y="212"/>
                      <a:pt x="80" y="211"/>
                      <a:pt x="78" y="213"/>
                    </a:cubicBezTo>
                    <a:cubicBezTo>
                      <a:pt x="78" y="223"/>
                      <a:pt x="86" y="213"/>
                      <a:pt x="87" y="220"/>
                    </a:cubicBezTo>
                    <a:cubicBezTo>
                      <a:pt x="77" y="223"/>
                      <a:pt x="47" y="216"/>
                      <a:pt x="43" y="202"/>
                    </a:cubicBezTo>
                    <a:cubicBezTo>
                      <a:pt x="21" y="205"/>
                      <a:pt x="12" y="195"/>
                      <a:pt x="0" y="188"/>
                    </a:cubicBezTo>
                    <a:cubicBezTo>
                      <a:pt x="14" y="178"/>
                      <a:pt x="45" y="176"/>
                      <a:pt x="60" y="178"/>
                    </a:cubicBezTo>
                    <a:cubicBezTo>
                      <a:pt x="60" y="174"/>
                      <a:pt x="57" y="173"/>
                      <a:pt x="53" y="174"/>
                    </a:cubicBezTo>
                    <a:cubicBezTo>
                      <a:pt x="55" y="171"/>
                      <a:pt x="59" y="170"/>
                      <a:pt x="59" y="165"/>
                    </a:cubicBezTo>
                    <a:cubicBezTo>
                      <a:pt x="62" y="165"/>
                      <a:pt x="66" y="165"/>
                      <a:pt x="69" y="165"/>
                    </a:cubicBezTo>
                    <a:cubicBezTo>
                      <a:pt x="77" y="153"/>
                      <a:pt x="93" y="148"/>
                      <a:pt x="101" y="145"/>
                    </a:cubicBezTo>
                    <a:cubicBezTo>
                      <a:pt x="102" y="151"/>
                      <a:pt x="106" y="150"/>
                      <a:pt x="116" y="151"/>
                    </a:cubicBezTo>
                    <a:cubicBezTo>
                      <a:pt x="116" y="144"/>
                      <a:pt x="107" y="132"/>
                      <a:pt x="107" y="121"/>
                    </a:cubicBezTo>
                    <a:cubicBezTo>
                      <a:pt x="118" y="119"/>
                      <a:pt x="122" y="110"/>
                      <a:pt x="121" y="96"/>
                    </a:cubicBezTo>
                    <a:cubicBezTo>
                      <a:pt x="138" y="95"/>
                      <a:pt x="125" y="64"/>
                      <a:pt x="132" y="53"/>
                    </a:cubicBezTo>
                    <a:cubicBezTo>
                      <a:pt x="149" y="72"/>
                      <a:pt x="158" y="101"/>
                      <a:pt x="169" y="128"/>
                    </a:cubicBezTo>
                    <a:cubicBezTo>
                      <a:pt x="200" y="129"/>
                      <a:pt x="219" y="142"/>
                      <a:pt x="244" y="149"/>
                    </a:cubicBezTo>
                    <a:cubicBezTo>
                      <a:pt x="248" y="137"/>
                      <a:pt x="226" y="139"/>
                      <a:pt x="222" y="129"/>
                    </a:cubicBezTo>
                    <a:cubicBezTo>
                      <a:pt x="203" y="128"/>
                      <a:pt x="193" y="117"/>
                      <a:pt x="171" y="119"/>
                    </a:cubicBezTo>
                    <a:cubicBezTo>
                      <a:pt x="171" y="111"/>
                      <a:pt x="161" y="106"/>
                      <a:pt x="165" y="99"/>
                    </a:cubicBezTo>
                    <a:cubicBezTo>
                      <a:pt x="191" y="92"/>
                      <a:pt x="219" y="103"/>
                      <a:pt x="226" y="78"/>
                    </a:cubicBezTo>
                    <a:cubicBezTo>
                      <a:pt x="234" y="78"/>
                      <a:pt x="246" y="82"/>
                      <a:pt x="251" y="80"/>
                    </a:cubicBezTo>
                    <a:cubicBezTo>
                      <a:pt x="243" y="73"/>
                      <a:pt x="230" y="72"/>
                      <a:pt x="226" y="62"/>
                    </a:cubicBezTo>
                    <a:cubicBezTo>
                      <a:pt x="227" y="59"/>
                      <a:pt x="228" y="62"/>
                      <a:pt x="228" y="64"/>
                    </a:cubicBezTo>
                    <a:cubicBezTo>
                      <a:pt x="237" y="58"/>
                      <a:pt x="251" y="52"/>
                      <a:pt x="260" y="62"/>
                    </a:cubicBezTo>
                    <a:close/>
                    <a:moveTo>
                      <a:pt x="126" y="176"/>
                    </a:moveTo>
                    <a:cubicBezTo>
                      <a:pt x="122" y="176"/>
                      <a:pt x="118" y="168"/>
                      <a:pt x="114" y="174"/>
                    </a:cubicBezTo>
                    <a:cubicBezTo>
                      <a:pt x="117" y="176"/>
                      <a:pt x="125" y="182"/>
                      <a:pt x="126" y="176"/>
                    </a:cubicBezTo>
                    <a:close/>
                    <a:moveTo>
                      <a:pt x="73" y="199"/>
                    </a:moveTo>
                    <a:cubicBezTo>
                      <a:pt x="68" y="198"/>
                      <a:pt x="68" y="191"/>
                      <a:pt x="62" y="192"/>
                    </a:cubicBezTo>
                    <a:cubicBezTo>
                      <a:pt x="59" y="200"/>
                      <a:pt x="69" y="204"/>
                      <a:pt x="73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4" name="Freeform 156"/>
              <p:cNvSpPr>
                <a:spLocks/>
              </p:cNvSpPr>
              <p:nvPr/>
            </p:nvSpPr>
            <p:spPr bwMode="auto">
              <a:xfrm>
                <a:off x="427" y="3196"/>
                <a:ext cx="25" cy="16"/>
              </a:xfrm>
              <a:custGeom>
                <a:avLst/>
                <a:gdLst>
                  <a:gd name="T0" fmla="*/ 17 w 21"/>
                  <a:gd name="T1" fmla="*/ 4 h 13"/>
                  <a:gd name="T2" fmla="*/ 15 w 21"/>
                  <a:gd name="T3" fmla="*/ 12 h 13"/>
                  <a:gd name="T4" fmla="*/ 8 w 21"/>
                  <a:gd name="T5" fmla="*/ 13 h 13"/>
                  <a:gd name="T6" fmla="*/ 6 w 21"/>
                  <a:gd name="T7" fmla="*/ 6 h 13"/>
                  <a:gd name="T8" fmla="*/ 17 w 21"/>
                  <a:gd name="T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3">
                    <a:moveTo>
                      <a:pt x="17" y="4"/>
                    </a:moveTo>
                    <a:cubicBezTo>
                      <a:pt x="21" y="5"/>
                      <a:pt x="15" y="9"/>
                      <a:pt x="15" y="12"/>
                    </a:cubicBezTo>
                    <a:cubicBezTo>
                      <a:pt x="12" y="12"/>
                      <a:pt x="8" y="11"/>
                      <a:pt x="8" y="13"/>
                    </a:cubicBezTo>
                    <a:cubicBezTo>
                      <a:pt x="0" y="12"/>
                      <a:pt x="11" y="7"/>
                      <a:pt x="6" y="6"/>
                    </a:cubicBezTo>
                    <a:cubicBezTo>
                      <a:pt x="7" y="0"/>
                      <a:pt x="18" y="8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5" name="Freeform 157"/>
              <p:cNvSpPr>
                <a:spLocks/>
              </p:cNvSpPr>
              <p:nvPr/>
            </p:nvSpPr>
            <p:spPr bwMode="auto">
              <a:xfrm>
                <a:off x="1050" y="3367"/>
                <a:ext cx="35" cy="10"/>
              </a:xfrm>
              <a:custGeom>
                <a:avLst/>
                <a:gdLst>
                  <a:gd name="T0" fmla="*/ 29 w 29"/>
                  <a:gd name="T1" fmla="*/ 0 h 8"/>
                  <a:gd name="T2" fmla="*/ 0 w 29"/>
                  <a:gd name="T3" fmla="*/ 8 h 8"/>
                  <a:gd name="T4" fmla="*/ 29 w 2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8">
                    <a:moveTo>
                      <a:pt x="29" y="0"/>
                    </a:moveTo>
                    <a:cubicBezTo>
                      <a:pt x="23" y="6"/>
                      <a:pt x="8" y="3"/>
                      <a:pt x="0" y="8"/>
                    </a:cubicBezTo>
                    <a:cubicBezTo>
                      <a:pt x="0" y="2"/>
                      <a:pt x="20" y="2"/>
                      <a:pt x="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6" name="Freeform 158"/>
              <p:cNvSpPr>
                <a:spLocks/>
              </p:cNvSpPr>
              <p:nvPr/>
            </p:nvSpPr>
            <p:spPr bwMode="auto">
              <a:xfrm>
                <a:off x="547" y="3247"/>
                <a:ext cx="127" cy="234"/>
              </a:xfrm>
              <a:custGeom>
                <a:avLst/>
                <a:gdLst>
                  <a:gd name="T0" fmla="*/ 69 w 105"/>
                  <a:gd name="T1" fmla="*/ 0 h 193"/>
                  <a:gd name="T2" fmla="*/ 49 w 105"/>
                  <a:gd name="T3" fmla="*/ 82 h 193"/>
                  <a:gd name="T4" fmla="*/ 57 w 105"/>
                  <a:gd name="T5" fmla="*/ 92 h 193"/>
                  <a:gd name="T6" fmla="*/ 53 w 105"/>
                  <a:gd name="T7" fmla="*/ 107 h 193"/>
                  <a:gd name="T8" fmla="*/ 67 w 105"/>
                  <a:gd name="T9" fmla="*/ 103 h 193"/>
                  <a:gd name="T10" fmla="*/ 71 w 105"/>
                  <a:gd name="T11" fmla="*/ 108 h 193"/>
                  <a:gd name="T12" fmla="*/ 76 w 105"/>
                  <a:gd name="T13" fmla="*/ 103 h 193"/>
                  <a:gd name="T14" fmla="*/ 94 w 105"/>
                  <a:gd name="T15" fmla="*/ 117 h 193"/>
                  <a:gd name="T16" fmla="*/ 96 w 105"/>
                  <a:gd name="T17" fmla="*/ 119 h 193"/>
                  <a:gd name="T18" fmla="*/ 74 w 105"/>
                  <a:gd name="T19" fmla="*/ 128 h 193"/>
                  <a:gd name="T20" fmla="*/ 71 w 105"/>
                  <a:gd name="T21" fmla="*/ 146 h 193"/>
                  <a:gd name="T22" fmla="*/ 62 w 105"/>
                  <a:gd name="T23" fmla="*/ 144 h 193"/>
                  <a:gd name="T24" fmla="*/ 49 w 105"/>
                  <a:gd name="T25" fmla="*/ 180 h 193"/>
                  <a:gd name="T26" fmla="*/ 60 w 105"/>
                  <a:gd name="T27" fmla="*/ 180 h 193"/>
                  <a:gd name="T28" fmla="*/ 5 w 105"/>
                  <a:gd name="T29" fmla="*/ 187 h 193"/>
                  <a:gd name="T30" fmla="*/ 16 w 105"/>
                  <a:gd name="T31" fmla="*/ 160 h 193"/>
                  <a:gd name="T32" fmla="*/ 0 w 105"/>
                  <a:gd name="T33" fmla="*/ 172 h 193"/>
                  <a:gd name="T34" fmla="*/ 69 w 105"/>
                  <a:gd name="T3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93">
                    <a:moveTo>
                      <a:pt x="69" y="0"/>
                    </a:moveTo>
                    <a:cubicBezTo>
                      <a:pt x="66" y="24"/>
                      <a:pt x="52" y="51"/>
                      <a:pt x="49" y="82"/>
                    </a:cubicBezTo>
                    <a:cubicBezTo>
                      <a:pt x="49" y="88"/>
                      <a:pt x="55" y="88"/>
                      <a:pt x="57" y="92"/>
                    </a:cubicBezTo>
                    <a:cubicBezTo>
                      <a:pt x="56" y="98"/>
                      <a:pt x="55" y="102"/>
                      <a:pt x="53" y="107"/>
                    </a:cubicBezTo>
                    <a:cubicBezTo>
                      <a:pt x="59" y="106"/>
                      <a:pt x="65" y="113"/>
                      <a:pt x="67" y="103"/>
                    </a:cubicBezTo>
                    <a:cubicBezTo>
                      <a:pt x="69" y="104"/>
                      <a:pt x="71" y="105"/>
                      <a:pt x="71" y="108"/>
                    </a:cubicBezTo>
                    <a:cubicBezTo>
                      <a:pt x="76" y="110"/>
                      <a:pt x="74" y="105"/>
                      <a:pt x="76" y="103"/>
                    </a:cubicBezTo>
                    <a:cubicBezTo>
                      <a:pt x="85" y="104"/>
                      <a:pt x="96" y="119"/>
                      <a:pt x="94" y="117"/>
                    </a:cubicBezTo>
                    <a:cubicBezTo>
                      <a:pt x="98" y="121"/>
                      <a:pt x="105" y="114"/>
                      <a:pt x="96" y="119"/>
                    </a:cubicBezTo>
                    <a:cubicBezTo>
                      <a:pt x="94" y="120"/>
                      <a:pt x="83" y="130"/>
                      <a:pt x="74" y="128"/>
                    </a:cubicBezTo>
                    <a:cubicBezTo>
                      <a:pt x="72" y="133"/>
                      <a:pt x="73" y="141"/>
                      <a:pt x="71" y="146"/>
                    </a:cubicBezTo>
                    <a:cubicBezTo>
                      <a:pt x="66" y="143"/>
                      <a:pt x="65" y="148"/>
                      <a:pt x="62" y="144"/>
                    </a:cubicBezTo>
                    <a:cubicBezTo>
                      <a:pt x="53" y="151"/>
                      <a:pt x="50" y="164"/>
                      <a:pt x="49" y="180"/>
                    </a:cubicBezTo>
                    <a:cubicBezTo>
                      <a:pt x="51" y="184"/>
                      <a:pt x="55" y="177"/>
                      <a:pt x="60" y="180"/>
                    </a:cubicBezTo>
                    <a:cubicBezTo>
                      <a:pt x="52" y="193"/>
                      <a:pt x="23" y="184"/>
                      <a:pt x="5" y="187"/>
                    </a:cubicBezTo>
                    <a:cubicBezTo>
                      <a:pt x="6" y="175"/>
                      <a:pt x="15" y="172"/>
                      <a:pt x="16" y="160"/>
                    </a:cubicBezTo>
                    <a:cubicBezTo>
                      <a:pt x="5" y="158"/>
                      <a:pt x="5" y="168"/>
                      <a:pt x="0" y="172"/>
                    </a:cubicBezTo>
                    <a:cubicBezTo>
                      <a:pt x="7" y="106"/>
                      <a:pt x="38" y="48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7" name="Freeform 159"/>
              <p:cNvSpPr>
                <a:spLocks/>
              </p:cNvSpPr>
              <p:nvPr/>
            </p:nvSpPr>
            <p:spPr bwMode="auto">
              <a:xfrm>
                <a:off x="1046" y="1268"/>
                <a:ext cx="53" cy="32"/>
              </a:xfrm>
              <a:custGeom>
                <a:avLst/>
                <a:gdLst>
                  <a:gd name="T0" fmla="*/ 0 w 44"/>
                  <a:gd name="T1" fmla="*/ 0 h 27"/>
                  <a:gd name="T2" fmla="*/ 44 w 44"/>
                  <a:gd name="T3" fmla="*/ 27 h 27"/>
                  <a:gd name="T4" fmla="*/ 0 w 44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27">
                    <a:moveTo>
                      <a:pt x="0" y="0"/>
                    </a:moveTo>
                    <a:cubicBezTo>
                      <a:pt x="14" y="4"/>
                      <a:pt x="35" y="12"/>
                      <a:pt x="44" y="27"/>
                    </a:cubicBezTo>
                    <a:cubicBezTo>
                      <a:pt x="27" y="20"/>
                      <a:pt x="8" y="1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8" name="Freeform 160"/>
              <p:cNvSpPr>
                <a:spLocks/>
              </p:cNvSpPr>
              <p:nvPr/>
            </p:nvSpPr>
            <p:spPr bwMode="auto">
              <a:xfrm>
                <a:off x="700" y="1410"/>
                <a:ext cx="456" cy="328"/>
              </a:xfrm>
              <a:custGeom>
                <a:avLst/>
                <a:gdLst>
                  <a:gd name="T0" fmla="*/ 36 w 376"/>
                  <a:gd name="T1" fmla="*/ 200 h 270"/>
                  <a:gd name="T2" fmla="*/ 0 w 376"/>
                  <a:gd name="T3" fmla="*/ 269 h 270"/>
                  <a:gd name="T4" fmla="*/ 41 w 376"/>
                  <a:gd name="T5" fmla="*/ 153 h 270"/>
                  <a:gd name="T6" fmla="*/ 61 w 376"/>
                  <a:gd name="T7" fmla="*/ 120 h 270"/>
                  <a:gd name="T8" fmla="*/ 64 w 376"/>
                  <a:gd name="T9" fmla="*/ 116 h 270"/>
                  <a:gd name="T10" fmla="*/ 137 w 376"/>
                  <a:gd name="T11" fmla="*/ 98 h 270"/>
                  <a:gd name="T12" fmla="*/ 123 w 376"/>
                  <a:gd name="T13" fmla="*/ 66 h 270"/>
                  <a:gd name="T14" fmla="*/ 155 w 376"/>
                  <a:gd name="T15" fmla="*/ 75 h 270"/>
                  <a:gd name="T16" fmla="*/ 190 w 376"/>
                  <a:gd name="T17" fmla="*/ 72 h 270"/>
                  <a:gd name="T18" fmla="*/ 215 w 376"/>
                  <a:gd name="T19" fmla="*/ 93 h 270"/>
                  <a:gd name="T20" fmla="*/ 223 w 376"/>
                  <a:gd name="T21" fmla="*/ 93 h 270"/>
                  <a:gd name="T22" fmla="*/ 237 w 376"/>
                  <a:gd name="T23" fmla="*/ 93 h 270"/>
                  <a:gd name="T24" fmla="*/ 251 w 376"/>
                  <a:gd name="T25" fmla="*/ 96 h 270"/>
                  <a:gd name="T26" fmla="*/ 256 w 376"/>
                  <a:gd name="T27" fmla="*/ 80 h 270"/>
                  <a:gd name="T28" fmla="*/ 297 w 376"/>
                  <a:gd name="T29" fmla="*/ 91 h 270"/>
                  <a:gd name="T30" fmla="*/ 315 w 376"/>
                  <a:gd name="T31" fmla="*/ 95 h 270"/>
                  <a:gd name="T32" fmla="*/ 265 w 376"/>
                  <a:gd name="T33" fmla="*/ 47 h 270"/>
                  <a:gd name="T34" fmla="*/ 287 w 376"/>
                  <a:gd name="T35" fmla="*/ 47 h 270"/>
                  <a:gd name="T36" fmla="*/ 272 w 376"/>
                  <a:gd name="T37" fmla="*/ 20 h 270"/>
                  <a:gd name="T38" fmla="*/ 283 w 376"/>
                  <a:gd name="T39" fmla="*/ 4 h 270"/>
                  <a:gd name="T40" fmla="*/ 299 w 376"/>
                  <a:gd name="T41" fmla="*/ 6 h 270"/>
                  <a:gd name="T42" fmla="*/ 310 w 376"/>
                  <a:gd name="T43" fmla="*/ 25 h 270"/>
                  <a:gd name="T44" fmla="*/ 326 w 376"/>
                  <a:gd name="T45" fmla="*/ 27 h 270"/>
                  <a:gd name="T46" fmla="*/ 333 w 376"/>
                  <a:gd name="T47" fmla="*/ 57 h 270"/>
                  <a:gd name="T48" fmla="*/ 363 w 376"/>
                  <a:gd name="T49" fmla="*/ 50 h 270"/>
                  <a:gd name="T50" fmla="*/ 331 w 376"/>
                  <a:gd name="T51" fmla="*/ 107 h 270"/>
                  <a:gd name="T52" fmla="*/ 322 w 376"/>
                  <a:gd name="T53" fmla="*/ 109 h 270"/>
                  <a:gd name="T54" fmla="*/ 294 w 376"/>
                  <a:gd name="T55" fmla="*/ 114 h 270"/>
                  <a:gd name="T56" fmla="*/ 280 w 376"/>
                  <a:gd name="T57" fmla="*/ 113 h 270"/>
                  <a:gd name="T58" fmla="*/ 271 w 376"/>
                  <a:gd name="T59" fmla="*/ 113 h 270"/>
                  <a:gd name="T60" fmla="*/ 240 w 376"/>
                  <a:gd name="T61" fmla="*/ 127 h 270"/>
                  <a:gd name="T62" fmla="*/ 214 w 376"/>
                  <a:gd name="T63" fmla="*/ 132 h 270"/>
                  <a:gd name="T64" fmla="*/ 192 w 376"/>
                  <a:gd name="T65" fmla="*/ 120 h 270"/>
                  <a:gd name="T66" fmla="*/ 174 w 376"/>
                  <a:gd name="T67" fmla="*/ 132 h 270"/>
                  <a:gd name="T68" fmla="*/ 123 w 376"/>
                  <a:gd name="T69" fmla="*/ 148 h 270"/>
                  <a:gd name="T70" fmla="*/ 68 w 376"/>
                  <a:gd name="T71" fmla="*/ 175 h 270"/>
                  <a:gd name="T72" fmla="*/ 37 w 376"/>
                  <a:gd name="T73" fmla="*/ 18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6" h="270">
                    <a:moveTo>
                      <a:pt x="37" y="187"/>
                    </a:moveTo>
                    <a:cubicBezTo>
                      <a:pt x="45" y="186"/>
                      <a:pt x="45" y="197"/>
                      <a:pt x="36" y="200"/>
                    </a:cubicBezTo>
                    <a:cubicBezTo>
                      <a:pt x="43" y="224"/>
                      <a:pt x="21" y="232"/>
                      <a:pt x="18" y="255"/>
                    </a:cubicBezTo>
                    <a:cubicBezTo>
                      <a:pt x="8" y="244"/>
                      <a:pt x="11" y="270"/>
                      <a:pt x="0" y="269"/>
                    </a:cubicBezTo>
                    <a:cubicBezTo>
                      <a:pt x="4" y="244"/>
                      <a:pt x="13" y="233"/>
                      <a:pt x="18" y="210"/>
                    </a:cubicBezTo>
                    <a:cubicBezTo>
                      <a:pt x="35" y="201"/>
                      <a:pt x="26" y="165"/>
                      <a:pt x="41" y="153"/>
                    </a:cubicBezTo>
                    <a:cubicBezTo>
                      <a:pt x="43" y="153"/>
                      <a:pt x="46" y="153"/>
                      <a:pt x="48" y="153"/>
                    </a:cubicBezTo>
                    <a:cubicBezTo>
                      <a:pt x="40" y="141"/>
                      <a:pt x="57" y="131"/>
                      <a:pt x="61" y="120"/>
                    </a:cubicBezTo>
                    <a:cubicBezTo>
                      <a:pt x="64" y="121"/>
                      <a:pt x="66" y="124"/>
                      <a:pt x="71" y="123"/>
                    </a:cubicBezTo>
                    <a:cubicBezTo>
                      <a:pt x="73" y="117"/>
                      <a:pt x="63" y="122"/>
                      <a:pt x="64" y="116"/>
                    </a:cubicBezTo>
                    <a:cubicBezTo>
                      <a:pt x="72" y="97"/>
                      <a:pt x="89" y="86"/>
                      <a:pt x="105" y="75"/>
                    </a:cubicBezTo>
                    <a:cubicBezTo>
                      <a:pt x="117" y="82"/>
                      <a:pt x="122" y="95"/>
                      <a:pt x="137" y="98"/>
                    </a:cubicBezTo>
                    <a:cubicBezTo>
                      <a:pt x="132" y="88"/>
                      <a:pt x="124" y="82"/>
                      <a:pt x="116" y="75"/>
                    </a:cubicBezTo>
                    <a:cubicBezTo>
                      <a:pt x="123" y="73"/>
                      <a:pt x="121" y="73"/>
                      <a:pt x="123" y="66"/>
                    </a:cubicBezTo>
                    <a:cubicBezTo>
                      <a:pt x="135" y="67"/>
                      <a:pt x="141" y="75"/>
                      <a:pt x="150" y="80"/>
                    </a:cubicBezTo>
                    <a:cubicBezTo>
                      <a:pt x="152" y="79"/>
                      <a:pt x="149" y="76"/>
                      <a:pt x="155" y="75"/>
                    </a:cubicBezTo>
                    <a:cubicBezTo>
                      <a:pt x="151" y="72"/>
                      <a:pt x="148" y="67"/>
                      <a:pt x="142" y="64"/>
                    </a:cubicBezTo>
                    <a:cubicBezTo>
                      <a:pt x="159" y="54"/>
                      <a:pt x="177" y="64"/>
                      <a:pt x="190" y="72"/>
                    </a:cubicBezTo>
                    <a:cubicBezTo>
                      <a:pt x="193" y="71"/>
                      <a:pt x="190" y="69"/>
                      <a:pt x="190" y="66"/>
                    </a:cubicBezTo>
                    <a:cubicBezTo>
                      <a:pt x="203" y="71"/>
                      <a:pt x="210" y="81"/>
                      <a:pt x="215" y="93"/>
                    </a:cubicBezTo>
                    <a:cubicBezTo>
                      <a:pt x="221" y="91"/>
                      <a:pt x="213" y="88"/>
                      <a:pt x="215" y="84"/>
                    </a:cubicBezTo>
                    <a:cubicBezTo>
                      <a:pt x="218" y="87"/>
                      <a:pt x="220" y="90"/>
                      <a:pt x="223" y="93"/>
                    </a:cubicBezTo>
                    <a:cubicBezTo>
                      <a:pt x="227" y="92"/>
                      <a:pt x="224" y="85"/>
                      <a:pt x="230" y="86"/>
                    </a:cubicBezTo>
                    <a:cubicBezTo>
                      <a:pt x="233" y="86"/>
                      <a:pt x="234" y="89"/>
                      <a:pt x="237" y="93"/>
                    </a:cubicBezTo>
                    <a:cubicBezTo>
                      <a:pt x="242" y="91"/>
                      <a:pt x="234" y="88"/>
                      <a:pt x="237" y="84"/>
                    </a:cubicBezTo>
                    <a:cubicBezTo>
                      <a:pt x="242" y="88"/>
                      <a:pt x="244" y="94"/>
                      <a:pt x="251" y="96"/>
                    </a:cubicBezTo>
                    <a:cubicBezTo>
                      <a:pt x="255" y="96"/>
                      <a:pt x="252" y="88"/>
                      <a:pt x="258" y="89"/>
                    </a:cubicBezTo>
                    <a:cubicBezTo>
                      <a:pt x="259" y="85"/>
                      <a:pt x="255" y="86"/>
                      <a:pt x="256" y="80"/>
                    </a:cubicBezTo>
                    <a:cubicBezTo>
                      <a:pt x="271" y="79"/>
                      <a:pt x="274" y="89"/>
                      <a:pt x="290" y="100"/>
                    </a:cubicBezTo>
                    <a:cubicBezTo>
                      <a:pt x="293" y="97"/>
                      <a:pt x="295" y="94"/>
                      <a:pt x="297" y="91"/>
                    </a:cubicBezTo>
                    <a:cubicBezTo>
                      <a:pt x="298" y="87"/>
                      <a:pt x="295" y="86"/>
                      <a:pt x="292" y="84"/>
                    </a:cubicBezTo>
                    <a:cubicBezTo>
                      <a:pt x="298" y="82"/>
                      <a:pt x="312" y="87"/>
                      <a:pt x="315" y="95"/>
                    </a:cubicBezTo>
                    <a:cubicBezTo>
                      <a:pt x="319" y="94"/>
                      <a:pt x="316" y="87"/>
                      <a:pt x="317" y="84"/>
                    </a:cubicBezTo>
                    <a:cubicBezTo>
                      <a:pt x="298" y="68"/>
                      <a:pt x="273" y="66"/>
                      <a:pt x="265" y="47"/>
                    </a:cubicBezTo>
                    <a:cubicBezTo>
                      <a:pt x="269" y="53"/>
                      <a:pt x="283" y="48"/>
                      <a:pt x="285" y="56"/>
                    </a:cubicBezTo>
                    <a:cubicBezTo>
                      <a:pt x="289" y="56"/>
                      <a:pt x="286" y="49"/>
                      <a:pt x="287" y="47"/>
                    </a:cubicBezTo>
                    <a:cubicBezTo>
                      <a:pt x="271" y="34"/>
                      <a:pt x="261" y="15"/>
                      <a:pt x="247" y="0"/>
                    </a:cubicBezTo>
                    <a:cubicBezTo>
                      <a:pt x="258" y="2"/>
                      <a:pt x="263" y="12"/>
                      <a:pt x="272" y="20"/>
                    </a:cubicBezTo>
                    <a:cubicBezTo>
                      <a:pt x="275" y="18"/>
                      <a:pt x="276" y="14"/>
                      <a:pt x="276" y="9"/>
                    </a:cubicBezTo>
                    <a:cubicBezTo>
                      <a:pt x="278" y="6"/>
                      <a:pt x="284" y="13"/>
                      <a:pt x="283" y="4"/>
                    </a:cubicBezTo>
                    <a:cubicBezTo>
                      <a:pt x="290" y="3"/>
                      <a:pt x="288" y="12"/>
                      <a:pt x="294" y="13"/>
                    </a:cubicBezTo>
                    <a:cubicBezTo>
                      <a:pt x="299" y="14"/>
                      <a:pt x="295" y="6"/>
                      <a:pt x="299" y="6"/>
                    </a:cubicBezTo>
                    <a:cubicBezTo>
                      <a:pt x="304" y="8"/>
                      <a:pt x="307" y="11"/>
                      <a:pt x="313" y="11"/>
                    </a:cubicBezTo>
                    <a:cubicBezTo>
                      <a:pt x="315" y="18"/>
                      <a:pt x="310" y="19"/>
                      <a:pt x="310" y="25"/>
                    </a:cubicBezTo>
                    <a:cubicBezTo>
                      <a:pt x="312" y="30"/>
                      <a:pt x="319" y="30"/>
                      <a:pt x="319" y="36"/>
                    </a:cubicBezTo>
                    <a:cubicBezTo>
                      <a:pt x="323" y="35"/>
                      <a:pt x="323" y="30"/>
                      <a:pt x="326" y="27"/>
                    </a:cubicBezTo>
                    <a:cubicBezTo>
                      <a:pt x="332" y="38"/>
                      <a:pt x="320" y="46"/>
                      <a:pt x="326" y="61"/>
                    </a:cubicBezTo>
                    <a:cubicBezTo>
                      <a:pt x="332" y="63"/>
                      <a:pt x="327" y="55"/>
                      <a:pt x="333" y="57"/>
                    </a:cubicBezTo>
                    <a:cubicBezTo>
                      <a:pt x="338" y="72"/>
                      <a:pt x="355" y="60"/>
                      <a:pt x="356" y="72"/>
                    </a:cubicBezTo>
                    <a:cubicBezTo>
                      <a:pt x="358" y="64"/>
                      <a:pt x="363" y="59"/>
                      <a:pt x="363" y="50"/>
                    </a:cubicBezTo>
                    <a:cubicBezTo>
                      <a:pt x="376" y="69"/>
                      <a:pt x="361" y="107"/>
                      <a:pt x="335" y="102"/>
                    </a:cubicBezTo>
                    <a:cubicBezTo>
                      <a:pt x="333" y="103"/>
                      <a:pt x="332" y="105"/>
                      <a:pt x="331" y="107"/>
                    </a:cubicBezTo>
                    <a:cubicBezTo>
                      <a:pt x="327" y="106"/>
                      <a:pt x="323" y="104"/>
                      <a:pt x="320" y="102"/>
                    </a:cubicBezTo>
                    <a:cubicBezTo>
                      <a:pt x="315" y="103"/>
                      <a:pt x="325" y="105"/>
                      <a:pt x="322" y="109"/>
                    </a:cubicBezTo>
                    <a:cubicBezTo>
                      <a:pt x="313" y="116"/>
                      <a:pt x="296" y="110"/>
                      <a:pt x="296" y="121"/>
                    </a:cubicBezTo>
                    <a:cubicBezTo>
                      <a:pt x="293" y="121"/>
                      <a:pt x="294" y="117"/>
                      <a:pt x="294" y="114"/>
                    </a:cubicBezTo>
                    <a:cubicBezTo>
                      <a:pt x="287" y="112"/>
                      <a:pt x="291" y="121"/>
                      <a:pt x="285" y="120"/>
                    </a:cubicBezTo>
                    <a:cubicBezTo>
                      <a:pt x="287" y="115"/>
                      <a:pt x="287" y="112"/>
                      <a:pt x="280" y="113"/>
                    </a:cubicBezTo>
                    <a:cubicBezTo>
                      <a:pt x="276" y="115"/>
                      <a:pt x="277" y="122"/>
                      <a:pt x="271" y="121"/>
                    </a:cubicBezTo>
                    <a:cubicBezTo>
                      <a:pt x="271" y="118"/>
                      <a:pt x="271" y="115"/>
                      <a:pt x="271" y="113"/>
                    </a:cubicBezTo>
                    <a:cubicBezTo>
                      <a:pt x="266" y="120"/>
                      <a:pt x="255" y="130"/>
                      <a:pt x="247" y="121"/>
                    </a:cubicBezTo>
                    <a:cubicBezTo>
                      <a:pt x="245" y="123"/>
                      <a:pt x="242" y="124"/>
                      <a:pt x="240" y="127"/>
                    </a:cubicBezTo>
                    <a:cubicBezTo>
                      <a:pt x="236" y="127"/>
                      <a:pt x="235" y="124"/>
                      <a:pt x="233" y="121"/>
                    </a:cubicBezTo>
                    <a:cubicBezTo>
                      <a:pt x="232" y="132"/>
                      <a:pt x="214" y="119"/>
                      <a:pt x="214" y="132"/>
                    </a:cubicBezTo>
                    <a:cubicBezTo>
                      <a:pt x="206" y="132"/>
                      <a:pt x="201" y="129"/>
                      <a:pt x="194" y="129"/>
                    </a:cubicBezTo>
                    <a:cubicBezTo>
                      <a:pt x="195" y="124"/>
                      <a:pt x="191" y="125"/>
                      <a:pt x="192" y="120"/>
                    </a:cubicBezTo>
                    <a:cubicBezTo>
                      <a:pt x="187" y="119"/>
                      <a:pt x="189" y="126"/>
                      <a:pt x="182" y="123"/>
                    </a:cubicBezTo>
                    <a:cubicBezTo>
                      <a:pt x="192" y="130"/>
                      <a:pt x="172" y="123"/>
                      <a:pt x="174" y="132"/>
                    </a:cubicBezTo>
                    <a:cubicBezTo>
                      <a:pt x="172" y="133"/>
                      <a:pt x="171" y="130"/>
                      <a:pt x="169" y="130"/>
                    </a:cubicBezTo>
                    <a:cubicBezTo>
                      <a:pt x="166" y="142"/>
                      <a:pt x="136" y="145"/>
                      <a:pt x="123" y="148"/>
                    </a:cubicBezTo>
                    <a:cubicBezTo>
                      <a:pt x="121" y="150"/>
                      <a:pt x="123" y="152"/>
                      <a:pt x="119" y="155"/>
                    </a:cubicBezTo>
                    <a:cubicBezTo>
                      <a:pt x="93" y="159"/>
                      <a:pt x="83" y="161"/>
                      <a:pt x="68" y="175"/>
                    </a:cubicBezTo>
                    <a:cubicBezTo>
                      <a:pt x="68" y="177"/>
                      <a:pt x="71" y="176"/>
                      <a:pt x="73" y="177"/>
                    </a:cubicBezTo>
                    <a:cubicBezTo>
                      <a:pt x="67" y="182"/>
                      <a:pt x="49" y="185"/>
                      <a:pt x="37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9" name="Freeform 161"/>
              <p:cNvSpPr>
                <a:spLocks/>
              </p:cNvSpPr>
              <p:nvPr/>
            </p:nvSpPr>
            <p:spPr bwMode="auto">
              <a:xfrm>
                <a:off x="1556" y="1903"/>
                <a:ext cx="72" cy="74"/>
              </a:xfrm>
              <a:custGeom>
                <a:avLst/>
                <a:gdLst>
                  <a:gd name="T0" fmla="*/ 59 w 59"/>
                  <a:gd name="T1" fmla="*/ 4 h 61"/>
                  <a:gd name="T2" fmla="*/ 0 w 59"/>
                  <a:gd name="T3" fmla="*/ 61 h 61"/>
                  <a:gd name="T4" fmla="*/ 9 w 59"/>
                  <a:gd name="T5" fmla="*/ 48 h 61"/>
                  <a:gd name="T6" fmla="*/ 2 w 59"/>
                  <a:gd name="T7" fmla="*/ 47 h 61"/>
                  <a:gd name="T8" fmla="*/ 59 w 59"/>
                  <a:gd name="T9" fmla="*/ 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1">
                    <a:moveTo>
                      <a:pt x="59" y="4"/>
                    </a:moveTo>
                    <a:cubicBezTo>
                      <a:pt x="34" y="17"/>
                      <a:pt x="24" y="46"/>
                      <a:pt x="0" y="61"/>
                    </a:cubicBezTo>
                    <a:cubicBezTo>
                      <a:pt x="4" y="57"/>
                      <a:pt x="7" y="53"/>
                      <a:pt x="9" y="48"/>
                    </a:cubicBezTo>
                    <a:cubicBezTo>
                      <a:pt x="8" y="46"/>
                      <a:pt x="4" y="47"/>
                      <a:pt x="2" y="47"/>
                    </a:cubicBezTo>
                    <a:cubicBezTo>
                      <a:pt x="21" y="30"/>
                      <a:pt x="25" y="0"/>
                      <a:pt x="5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0" name="Freeform 162"/>
              <p:cNvSpPr>
                <a:spLocks noEditPoints="1"/>
              </p:cNvSpPr>
              <p:nvPr/>
            </p:nvSpPr>
            <p:spPr bwMode="auto">
              <a:xfrm>
                <a:off x="1494" y="2989"/>
                <a:ext cx="211" cy="186"/>
              </a:xfrm>
              <a:custGeom>
                <a:avLst/>
                <a:gdLst>
                  <a:gd name="T0" fmla="*/ 19 w 174"/>
                  <a:gd name="T1" fmla="*/ 28 h 153"/>
                  <a:gd name="T2" fmla="*/ 19 w 174"/>
                  <a:gd name="T3" fmla="*/ 23 h 153"/>
                  <a:gd name="T4" fmla="*/ 60 w 174"/>
                  <a:gd name="T5" fmla="*/ 18 h 153"/>
                  <a:gd name="T6" fmla="*/ 56 w 174"/>
                  <a:gd name="T7" fmla="*/ 0 h 153"/>
                  <a:gd name="T8" fmla="*/ 136 w 174"/>
                  <a:gd name="T9" fmla="*/ 57 h 153"/>
                  <a:gd name="T10" fmla="*/ 174 w 174"/>
                  <a:gd name="T11" fmla="*/ 125 h 153"/>
                  <a:gd name="T12" fmla="*/ 131 w 174"/>
                  <a:gd name="T13" fmla="*/ 153 h 153"/>
                  <a:gd name="T14" fmla="*/ 97 w 174"/>
                  <a:gd name="T15" fmla="*/ 125 h 153"/>
                  <a:gd name="T16" fmla="*/ 8 w 174"/>
                  <a:gd name="T17" fmla="*/ 133 h 153"/>
                  <a:gd name="T18" fmla="*/ 49 w 174"/>
                  <a:gd name="T19" fmla="*/ 117 h 153"/>
                  <a:gd name="T20" fmla="*/ 24 w 174"/>
                  <a:gd name="T21" fmla="*/ 107 h 153"/>
                  <a:gd name="T22" fmla="*/ 19 w 174"/>
                  <a:gd name="T23" fmla="*/ 84 h 153"/>
                  <a:gd name="T24" fmla="*/ 37 w 174"/>
                  <a:gd name="T25" fmla="*/ 78 h 153"/>
                  <a:gd name="T26" fmla="*/ 30 w 174"/>
                  <a:gd name="T27" fmla="*/ 59 h 153"/>
                  <a:gd name="T28" fmla="*/ 6 w 174"/>
                  <a:gd name="T29" fmla="*/ 50 h 153"/>
                  <a:gd name="T30" fmla="*/ 1 w 174"/>
                  <a:gd name="T31" fmla="*/ 37 h 153"/>
                  <a:gd name="T32" fmla="*/ 5 w 174"/>
                  <a:gd name="T33" fmla="*/ 27 h 153"/>
                  <a:gd name="T34" fmla="*/ 19 w 174"/>
                  <a:gd name="T35" fmla="*/ 28 h 153"/>
                  <a:gd name="T36" fmla="*/ 40 w 174"/>
                  <a:gd name="T37" fmla="*/ 62 h 153"/>
                  <a:gd name="T38" fmla="*/ 58 w 174"/>
                  <a:gd name="T39" fmla="*/ 60 h 153"/>
                  <a:gd name="T40" fmla="*/ 39 w 174"/>
                  <a:gd name="T41" fmla="*/ 48 h 153"/>
                  <a:gd name="T42" fmla="*/ 40 w 174"/>
                  <a:gd name="T4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4" h="153">
                    <a:moveTo>
                      <a:pt x="19" y="28"/>
                    </a:moveTo>
                    <a:cubicBezTo>
                      <a:pt x="22" y="28"/>
                      <a:pt x="18" y="26"/>
                      <a:pt x="19" y="23"/>
                    </a:cubicBezTo>
                    <a:cubicBezTo>
                      <a:pt x="30" y="30"/>
                      <a:pt x="48" y="24"/>
                      <a:pt x="60" y="18"/>
                    </a:cubicBezTo>
                    <a:cubicBezTo>
                      <a:pt x="59" y="11"/>
                      <a:pt x="55" y="8"/>
                      <a:pt x="56" y="0"/>
                    </a:cubicBezTo>
                    <a:cubicBezTo>
                      <a:pt x="88" y="7"/>
                      <a:pt x="107" y="42"/>
                      <a:pt x="136" y="57"/>
                    </a:cubicBezTo>
                    <a:cubicBezTo>
                      <a:pt x="150" y="78"/>
                      <a:pt x="163" y="100"/>
                      <a:pt x="174" y="125"/>
                    </a:cubicBezTo>
                    <a:cubicBezTo>
                      <a:pt x="158" y="133"/>
                      <a:pt x="144" y="142"/>
                      <a:pt x="131" y="153"/>
                    </a:cubicBezTo>
                    <a:cubicBezTo>
                      <a:pt x="114" y="149"/>
                      <a:pt x="113" y="130"/>
                      <a:pt x="97" y="125"/>
                    </a:cubicBezTo>
                    <a:cubicBezTo>
                      <a:pt x="69" y="129"/>
                      <a:pt x="40" y="126"/>
                      <a:pt x="8" y="133"/>
                    </a:cubicBezTo>
                    <a:cubicBezTo>
                      <a:pt x="14" y="120"/>
                      <a:pt x="33" y="121"/>
                      <a:pt x="49" y="117"/>
                    </a:cubicBezTo>
                    <a:cubicBezTo>
                      <a:pt x="46" y="105"/>
                      <a:pt x="30" y="114"/>
                      <a:pt x="24" y="107"/>
                    </a:cubicBezTo>
                    <a:cubicBezTo>
                      <a:pt x="29" y="95"/>
                      <a:pt x="28" y="89"/>
                      <a:pt x="19" y="84"/>
                    </a:cubicBezTo>
                    <a:cubicBezTo>
                      <a:pt x="27" y="81"/>
                      <a:pt x="32" y="85"/>
                      <a:pt x="37" y="78"/>
                    </a:cubicBezTo>
                    <a:cubicBezTo>
                      <a:pt x="35" y="71"/>
                      <a:pt x="21" y="66"/>
                      <a:pt x="30" y="59"/>
                    </a:cubicBezTo>
                    <a:cubicBezTo>
                      <a:pt x="27" y="51"/>
                      <a:pt x="14" y="53"/>
                      <a:pt x="6" y="50"/>
                    </a:cubicBezTo>
                    <a:cubicBezTo>
                      <a:pt x="4" y="47"/>
                      <a:pt x="6" y="38"/>
                      <a:pt x="1" y="37"/>
                    </a:cubicBezTo>
                    <a:cubicBezTo>
                      <a:pt x="0" y="32"/>
                      <a:pt x="7" y="33"/>
                      <a:pt x="5" y="27"/>
                    </a:cubicBezTo>
                    <a:cubicBezTo>
                      <a:pt x="9" y="28"/>
                      <a:pt x="18" y="24"/>
                      <a:pt x="19" y="28"/>
                    </a:cubicBezTo>
                    <a:close/>
                    <a:moveTo>
                      <a:pt x="40" y="62"/>
                    </a:moveTo>
                    <a:cubicBezTo>
                      <a:pt x="49" y="59"/>
                      <a:pt x="57" y="72"/>
                      <a:pt x="58" y="60"/>
                    </a:cubicBezTo>
                    <a:cubicBezTo>
                      <a:pt x="47" y="61"/>
                      <a:pt x="47" y="50"/>
                      <a:pt x="39" y="48"/>
                    </a:cubicBezTo>
                    <a:cubicBezTo>
                      <a:pt x="34" y="53"/>
                      <a:pt x="40" y="57"/>
                      <a:pt x="4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1" name="Freeform 163"/>
              <p:cNvSpPr>
                <a:spLocks/>
              </p:cNvSpPr>
              <p:nvPr/>
            </p:nvSpPr>
            <p:spPr bwMode="auto">
              <a:xfrm>
                <a:off x="1223" y="3275"/>
                <a:ext cx="80" cy="24"/>
              </a:xfrm>
              <a:custGeom>
                <a:avLst/>
                <a:gdLst>
                  <a:gd name="T0" fmla="*/ 35 w 66"/>
                  <a:gd name="T1" fmla="*/ 9 h 20"/>
                  <a:gd name="T2" fmla="*/ 51 w 66"/>
                  <a:gd name="T3" fmla="*/ 2 h 20"/>
                  <a:gd name="T4" fmla="*/ 66 w 66"/>
                  <a:gd name="T5" fmla="*/ 7 h 20"/>
                  <a:gd name="T6" fmla="*/ 0 w 66"/>
                  <a:gd name="T7" fmla="*/ 20 h 20"/>
                  <a:gd name="T8" fmla="*/ 23 w 66"/>
                  <a:gd name="T9" fmla="*/ 5 h 20"/>
                  <a:gd name="T10" fmla="*/ 32 w 66"/>
                  <a:gd name="T11" fmla="*/ 0 h 20"/>
                  <a:gd name="T12" fmla="*/ 39 w 66"/>
                  <a:gd name="T13" fmla="*/ 5 h 20"/>
                  <a:gd name="T14" fmla="*/ 35 w 66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20">
                    <a:moveTo>
                      <a:pt x="35" y="9"/>
                    </a:moveTo>
                    <a:cubicBezTo>
                      <a:pt x="39" y="12"/>
                      <a:pt x="50" y="7"/>
                      <a:pt x="51" y="2"/>
                    </a:cubicBezTo>
                    <a:cubicBezTo>
                      <a:pt x="54" y="6"/>
                      <a:pt x="58" y="8"/>
                      <a:pt x="66" y="7"/>
                    </a:cubicBezTo>
                    <a:cubicBezTo>
                      <a:pt x="48" y="15"/>
                      <a:pt x="26" y="19"/>
                      <a:pt x="0" y="20"/>
                    </a:cubicBezTo>
                    <a:cubicBezTo>
                      <a:pt x="6" y="14"/>
                      <a:pt x="26" y="13"/>
                      <a:pt x="23" y="5"/>
                    </a:cubicBezTo>
                    <a:cubicBezTo>
                      <a:pt x="24" y="1"/>
                      <a:pt x="33" y="6"/>
                      <a:pt x="32" y="0"/>
                    </a:cubicBezTo>
                    <a:cubicBezTo>
                      <a:pt x="34" y="4"/>
                      <a:pt x="37" y="4"/>
                      <a:pt x="39" y="5"/>
                    </a:cubicBezTo>
                    <a:cubicBezTo>
                      <a:pt x="40" y="8"/>
                      <a:pt x="38" y="9"/>
                      <a:pt x="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2" name="Freeform 164"/>
              <p:cNvSpPr>
                <a:spLocks/>
              </p:cNvSpPr>
              <p:nvPr/>
            </p:nvSpPr>
            <p:spPr bwMode="auto">
              <a:xfrm>
                <a:off x="685" y="3408"/>
                <a:ext cx="199" cy="68"/>
              </a:xfrm>
              <a:custGeom>
                <a:avLst/>
                <a:gdLst>
                  <a:gd name="T0" fmla="*/ 133 w 164"/>
                  <a:gd name="T1" fmla="*/ 36 h 56"/>
                  <a:gd name="T2" fmla="*/ 121 w 164"/>
                  <a:gd name="T3" fmla="*/ 43 h 56"/>
                  <a:gd name="T4" fmla="*/ 144 w 164"/>
                  <a:gd name="T5" fmla="*/ 54 h 56"/>
                  <a:gd name="T6" fmla="*/ 94 w 164"/>
                  <a:gd name="T7" fmla="*/ 54 h 56"/>
                  <a:gd name="T8" fmla="*/ 92 w 164"/>
                  <a:gd name="T9" fmla="*/ 47 h 56"/>
                  <a:gd name="T10" fmla="*/ 40 w 164"/>
                  <a:gd name="T11" fmla="*/ 48 h 56"/>
                  <a:gd name="T12" fmla="*/ 48 w 164"/>
                  <a:gd name="T13" fmla="*/ 52 h 56"/>
                  <a:gd name="T14" fmla="*/ 0 w 164"/>
                  <a:gd name="T15" fmla="*/ 54 h 56"/>
                  <a:gd name="T16" fmla="*/ 32 w 164"/>
                  <a:gd name="T17" fmla="*/ 39 h 56"/>
                  <a:gd name="T18" fmla="*/ 90 w 164"/>
                  <a:gd name="T19" fmla="*/ 31 h 56"/>
                  <a:gd name="T20" fmla="*/ 80 w 164"/>
                  <a:gd name="T21" fmla="*/ 38 h 56"/>
                  <a:gd name="T22" fmla="*/ 130 w 164"/>
                  <a:gd name="T23" fmla="*/ 31 h 56"/>
                  <a:gd name="T24" fmla="*/ 133 w 164"/>
                  <a:gd name="T25" fmla="*/ 16 h 56"/>
                  <a:gd name="T26" fmla="*/ 105 w 164"/>
                  <a:gd name="T27" fmla="*/ 20 h 56"/>
                  <a:gd name="T28" fmla="*/ 115 w 164"/>
                  <a:gd name="T29" fmla="*/ 2 h 56"/>
                  <a:gd name="T30" fmla="*/ 135 w 164"/>
                  <a:gd name="T31" fmla="*/ 16 h 56"/>
                  <a:gd name="T32" fmla="*/ 149 w 164"/>
                  <a:gd name="T33" fmla="*/ 15 h 56"/>
                  <a:gd name="T34" fmla="*/ 154 w 164"/>
                  <a:gd name="T35" fmla="*/ 25 h 56"/>
                  <a:gd name="T36" fmla="*/ 149 w 164"/>
                  <a:gd name="T37" fmla="*/ 32 h 56"/>
                  <a:gd name="T38" fmla="*/ 163 w 164"/>
                  <a:gd name="T39" fmla="*/ 54 h 56"/>
                  <a:gd name="T40" fmla="*/ 133 w 164"/>
                  <a:gd name="T41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" h="56">
                    <a:moveTo>
                      <a:pt x="133" y="36"/>
                    </a:moveTo>
                    <a:cubicBezTo>
                      <a:pt x="127" y="37"/>
                      <a:pt x="122" y="38"/>
                      <a:pt x="121" y="43"/>
                    </a:cubicBezTo>
                    <a:cubicBezTo>
                      <a:pt x="129" y="43"/>
                      <a:pt x="138" y="51"/>
                      <a:pt x="144" y="54"/>
                    </a:cubicBezTo>
                    <a:cubicBezTo>
                      <a:pt x="127" y="54"/>
                      <a:pt x="111" y="54"/>
                      <a:pt x="94" y="54"/>
                    </a:cubicBezTo>
                    <a:cubicBezTo>
                      <a:pt x="95" y="50"/>
                      <a:pt x="93" y="49"/>
                      <a:pt x="92" y="47"/>
                    </a:cubicBezTo>
                    <a:cubicBezTo>
                      <a:pt x="69" y="49"/>
                      <a:pt x="57" y="35"/>
                      <a:pt x="40" y="48"/>
                    </a:cubicBezTo>
                    <a:cubicBezTo>
                      <a:pt x="41" y="52"/>
                      <a:pt x="44" y="52"/>
                      <a:pt x="48" y="52"/>
                    </a:cubicBezTo>
                    <a:cubicBezTo>
                      <a:pt x="35" y="56"/>
                      <a:pt x="15" y="53"/>
                      <a:pt x="0" y="54"/>
                    </a:cubicBezTo>
                    <a:cubicBezTo>
                      <a:pt x="3" y="43"/>
                      <a:pt x="20" y="42"/>
                      <a:pt x="32" y="39"/>
                    </a:cubicBezTo>
                    <a:cubicBezTo>
                      <a:pt x="50" y="36"/>
                      <a:pt x="68" y="33"/>
                      <a:pt x="90" y="31"/>
                    </a:cubicBezTo>
                    <a:cubicBezTo>
                      <a:pt x="88" y="34"/>
                      <a:pt x="80" y="32"/>
                      <a:pt x="80" y="38"/>
                    </a:cubicBezTo>
                    <a:cubicBezTo>
                      <a:pt x="99" y="39"/>
                      <a:pt x="108" y="28"/>
                      <a:pt x="130" y="31"/>
                    </a:cubicBezTo>
                    <a:cubicBezTo>
                      <a:pt x="135" y="30"/>
                      <a:pt x="133" y="22"/>
                      <a:pt x="133" y="16"/>
                    </a:cubicBezTo>
                    <a:cubicBezTo>
                      <a:pt x="124" y="17"/>
                      <a:pt x="113" y="18"/>
                      <a:pt x="105" y="20"/>
                    </a:cubicBezTo>
                    <a:cubicBezTo>
                      <a:pt x="108" y="13"/>
                      <a:pt x="122" y="14"/>
                      <a:pt x="115" y="2"/>
                    </a:cubicBezTo>
                    <a:cubicBezTo>
                      <a:pt x="128" y="0"/>
                      <a:pt x="133" y="7"/>
                      <a:pt x="135" y="16"/>
                    </a:cubicBezTo>
                    <a:cubicBezTo>
                      <a:pt x="141" y="17"/>
                      <a:pt x="145" y="16"/>
                      <a:pt x="149" y="15"/>
                    </a:cubicBezTo>
                    <a:cubicBezTo>
                      <a:pt x="152" y="17"/>
                      <a:pt x="151" y="24"/>
                      <a:pt x="154" y="25"/>
                    </a:cubicBezTo>
                    <a:cubicBezTo>
                      <a:pt x="154" y="29"/>
                      <a:pt x="151" y="30"/>
                      <a:pt x="149" y="32"/>
                    </a:cubicBezTo>
                    <a:cubicBezTo>
                      <a:pt x="148" y="45"/>
                      <a:pt x="164" y="41"/>
                      <a:pt x="163" y="54"/>
                    </a:cubicBezTo>
                    <a:cubicBezTo>
                      <a:pt x="140" y="56"/>
                      <a:pt x="142" y="39"/>
                      <a:pt x="13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695" name="Rectangle 694"/>
          <p:cNvSpPr/>
          <p:nvPr/>
        </p:nvSpPr>
        <p:spPr>
          <a:xfrm>
            <a:off x="1265892" y="2338696"/>
            <a:ext cx="7477862" cy="3347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696" name="正方形/長方形 4">
            <a:extLst>
              <a:ext uri="{FF2B5EF4-FFF2-40B4-BE49-F238E27FC236}">
                <a16:creationId xmlns:a16="http://schemas.microsoft.com/office/drawing/2014/main" xmlns="" id="{51FD91B2-BEE1-4D95-8378-21BF94A03A37}"/>
              </a:ext>
            </a:extLst>
          </p:cNvPr>
          <p:cNvSpPr/>
          <p:nvPr/>
        </p:nvSpPr>
        <p:spPr>
          <a:xfrm>
            <a:off x="1344033" y="2362225"/>
            <a:ext cx="1701089" cy="18309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9700" tIns="29700" rIns="29700" bIns="29700" rtlCol="0" anchor="ctr">
            <a:noAutofit/>
          </a:bodyPr>
          <a:lstStyle/>
          <a:p>
            <a:pPr algn="ctr"/>
            <a:r>
              <a:rPr kumimoji="1" lang="en-US" altLang="ja-JP" b="1" dirty="0" smtClean="0">
                <a:solidFill>
                  <a:schemeClr val="accent5"/>
                </a:solidFill>
              </a:rPr>
              <a:t>Industry (NACE code)</a:t>
            </a:r>
            <a:endParaRPr kumimoji="1" lang="en-US" altLang="ja-JP" b="1" dirty="0">
              <a:solidFill>
                <a:schemeClr val="accent5"/>
              </a:solidFill>
            </a:endParaRPr>
          </a:p>
        </p:txBody>
      </p:sp>
      <p:sp>
        <p:nvSpPr>
          <p:cNvPr id="733" name="Rounded Rectangle 732"/>
          <p:cNvSpPr/>
          <p:nvPr/>
        </p:nvSpPr>
        <p:spPr>
          <a:xfrm rot="10800000">
            <a:off x="1493128" y="2806080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1377950" y="2765724"/>
          <a:ext cx="7302500" cy="2828290"/>
        </p:xfrm>
        <a:graphic>
          <a:graphicData uri="http://schemas.openxmlformats.org/drawingml/2006/table">
            <a:tbl>
              <a:tblPr>
                <a:tableStyleId>{D5C30875-5027-47A9-8995-C2BF9F8F2FF4}</a:tableStyleId>
              </a:tblPr>
              <a:tblGrid>
                <a:gridCol w="381000"/>
                <a:gridCol w="647700"/>
                <a:gridCol w="6273800"/>
              </a:tblGrid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010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Agriculture, hunting and related service activitie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011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Growing of crops; market gardening; horticultur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0111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Growing of cereals and other crops n.e.c.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1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Growing of vegetables, horticultural specialties and nursery product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1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Growing of fruit, nuts, beverage and spice crop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2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Farming of animal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21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Farming of cattle, dairy farming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2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Farming of sheep, goats, horses, asses, mules and hinn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2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Farming of swin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2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Farming of poultry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2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Other farming of animal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3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Growing of crops combined with farming of animals (mixed farming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4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Agricultural and animal husbandry service activities, except veterinary activit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41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>
                          <a:effectLst/>
                          <a:latin typeface="+mn-lt"/>
                        </a:rPr>
                        <a:t>Agricultural service activitie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4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Animal husbandry service activities, except veterinary activit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15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Hunting, trapping and game propagation including related service activit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5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+mn-lt"/>
                        </a:rPr>
                        <a:t>020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  <a:latin typeface="+mn-lt"/>
                        </a:rPr>
                        <a:t>Forestry, logging and related service activit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97" name="Rounded Rectangle 396"/>
          <p:cNvSpPr/>
          <p:nvPr/>
        </p:nvSpPr>
        <p:spPr>
          <a:xfrm rot="10800000">
            <a:off x="1493128" y="2971904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398" name="Rounded Rectangle 397"/>
          <p:cNvSpPr/>
          <p:nvPr/>
        </p:nvSpPr>
        <p:spPr>
          <a:xfrm rot="10800000">
            <a:off x="1493128" y="3137728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399" name="Rounded Rectangle 398"/>
          <p:cNvSpPr/>
          <p:nvPr/>
        </p:nvSpPr>
        <p:spPr>
          <a:xfrm rot="10800000">
            <a:off x="1493128" y="3303552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0" name="Rounded Rectangle 399"/>
          <p:cNvSpPr/>
          <p:nvPr/>
        </p:nvSpPr>
        <p:spPr>
          <a:xfrm rot="10800000">
            <a:off x="1493128" y="3469376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1" name="Rounded Rectangle 400"/>
          <p:cNvSpPr/>
          <p:nvPr/>
        </p:nvSpPr>
        <p:spPr>
          <a:xfrm rot="10800000">
            <a:off x="1493128" y="3635200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2" name="Rounded Rectangle 401"/>
          <p:cNvSpPr/>
          <p:nvPr/>
        </p:nvSpPr>
        <p:spPr>
          <a:xfrm rot="10800000">
            <a:off x="1493128" y="3801024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3" name="Rounded Rectangle 402"/>
          <p:cNvSpPr/>
          <p:nvPr/>
        </p:nvSpPr>
        <p:spPr>
          <a:xfrm rot="10800000">
            <a:off x="1493128" y="3966848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4" name="Rounded Rectangle 403"/>
          <p:cNvSpPr/>
          <p:nvPr/>
        </p:nvSpPr>
        <p:spPr>
          <a:xfrm rot="10800000">
            <a:off x="1493128" y="4132672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5" name="Rounded Rectangle 404"/>
          <p:cNvSpPr/>
          <p:nvPr/>
        </p:nvSpPr>
        <p:spPr>
          <a:xfrm rot="10800000">
            <a:off x="1493128" y="4298496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6" name="Rounded Rectangle 405"/>
          <p:cNvSpPr/>
          <p:nvPr/>
        </p:nvSpPr>
        <p:spPr>
          <a:xfrm rot="10800000">
            <a:off x="1493128" y="4464320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7" name="Rounded Rectangle 406"/>
          <p:cNvSpPr/>
          <p:nvPr/>
        </p:nvSpPr>
        <p:spPr>
          <a:xfrm rot="10800000">
            <a:off x="1493128" y="4630144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8" name="Rounded Rectangle 407"/>
          <p:cNvSpPr/>
          <p:nvPr/>
        </p:nvSpPr>
        <p:spPr>
          <a:xfrm rot="10800000">
            <a:off x="1493128" y="4795968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09" name="Rounded Rectangle 408"/>
          <p:cNvSpPr/>
          <p:nvPr/>
        </p:nvSpPr>
        <p:spPr>
          <a:xfrm rot="10800000">
            <a:off x="1493128" y="4961792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10" name="Rounded Rectangle 409"/>
          <p:cNvSpPr/>
          <p:nvPr/>
        </p:nvSpPr>
        <p:spPr>
          <a:xfrm rot="10800000">
            <a:off x="1493128" y="5127616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11" name="Rounded Rectangle 410"/>
          <p:cNvSpPr/>
          <p:nvPr/>
        </p:nvSpPr>
        <p:spPr>
          <a:xfrm rot="10800000">
            <a:off x="1493128" y="5293440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412" name="Rounded Rectangle 411"/>
          <p:cNvSpPr/>
          <p:nvPr/>
        </p:nvSpPr>
        <p:spPr>
          <a:xfrm rot="10800000">
            <a:off x="1493128" y="5459257"/>
            <a:ext cx="151695" cy="103311"/>
          </a:xfrm>
          <a:prstGeom prst="round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" name="Rectangle 1"/>
          <p:cNvSpPr/>
          <p:nvPr/>
        </p:nvSpPr>
        <p:spPr>
          <a:xfrm>
            <a:off x="3149119" y="1149896"/>
            <a:ext cx="1089516" cy="2880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dirty="0" smtClean="0"/>
              <a:t>2h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645741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RTDOCUMENTTYPE" val="2"/>
  <p:tag name="ISTOCUPDATED" val="No"/>
  <p:tag name="SHOWDISCLAIMERCLIENTNAME" val="No"/>
  <p:tag name="TOCAPPENDIXTEXT" val="Appendices"/>
  <p:tag name="TOCSECTIONHEADERTEXT" val="Section"/>
  <p:tag name="SMARTSHAPETYPE" val="PresentationDisclaimer"/>
  <p:tag name="SMARTISVISIBLE" val="{@PresentationDisclaimer}!=No Disclaimer"/>
  <p:tag name="SHOWPRESENTATIONDISCLAIMER" val="No"/>
  <p:tag name="TABLEHEADERFONTSIZE" val="12"/>
  <p:tag name="TABLEDEFAULTFONTSIZE" val="10"/>
  <p:tag name="TOCPAGETEXT" val="Page"/>
  <p:tag name="DESCRIPTOR TEXT" val="Business Unit"/>
  <p:tag name="DESCRIPTOR" val="Business Unit"/>
  <p:tag name="PRESENTATIONDISCLAIMER" val="No Disclaimer"/>
  <p:tag name="FOOTERHEIGHT" val="550"/>
  <p:tag name="HORIZONTALTOCTYPE" val="Header TOC"/>
  <p:tag name="TABLESTYLEID" val="{74ED0A72-4B8E-423B-AE2F-120ADE3C16FB}"/>
  <p:tag name="GRIDON" val="No"/>
  <p:tag name="PICTURE" val="Co-workers"/>
  <p:tag name="TOCSECTIONTEXT" val=" "/>
  <p:tag name="SMARTTOCSLIDENUMBER" val="4"/>
  <p:tag name="TOCPAGELANGUAGETEXT" val="Page"/>
  <p:tag name="TOCSECTIONLANGUAGETEXT" val="Section"/>
  <p:tag name="TOCOVERVIEWLANGUAGETEXT" val="Overview"/>
  <p:tag name="TOCTEXT" val="Table of Contents"/>
  <p:tag name="SMARTTOCSTYLE" val="Standard Table of Contents"/>
  <p:tag name="SMARTTOCHYPERLINK" val="YES"/>
  <p:tag name="SHOW DRAFT STAMP" val="YES"/>
  <p:tag name="SHOW DATE FILEPATH" val="NO"/>
  <p:tag name="PRESENTATION THEME COLOR" val="PwC Orange"/>
  <p:tag name="HASFRONTIMAGE" val="YES"/>
  <p:tag name="SUBTITLE" val="Market attractiveness assessment"/>
  <p:tag name="TITLE" val="Project Diamond"/>
  <p:tag name="REPORT DATE" val="13 December 2012"/>
  <p:tag name="DRAFT STAMP" val="Final"/>
  <p:tag name="CONFIDENTIALITY STAMP" val="Strictly Private and Confidential"/>
  <p:tag name="BUSINESSUNITCOVERTEXT" val="PwC Strategy"/>
  <p:tag name="LANGUAGE" val="English (UK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SMART DIVIDER TITLE" val="Vietnam's Consumer Finance Market Overview"/>
  <p:tag name="SMARTDIVIDERTEXT" val="Section"/>
  <p:tag name="SMARTDIVIDERNUMB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rJinptpUy4P80Y0lom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gprDTeEqyPw9gfEsq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BCGnbAkyL404rgqNQ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_Lswk6UCsnv76gA4h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6l9dZNvEyMS1mjY8t7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ycln4knkulzZweKIMZ7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7HuLy6EWRiwMSyzOFA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xMYk9txkmGBppIdj0J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gprDTeEqyPw9gfEsqp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SMART DIVIDER TITLE" val="Vietnam's Consumer Finance Market Overview"/>
  <p:tag name="SMARTDIVIDERTEXT" val="Section"/>
  <p:tag name="SMARTDIVIDERNUMB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heme/theme1.xml><?xml version="1.0" encoding="utf-8"?>
<a:theme xmlns:a="http://schemas.openxmlformats.org/drawingml/2006/main" name="Consulting Report_VN">
  <a:themeElements>
    <a:clrScheme name="Custom 1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FDE428"/>
      </a:accent1>
      <a:accent2>
        <a:srgbClr val="EEE8AA"/>
      </a:accent2>
      <a:accent3>
        <a:srgbClr val="8B8662"/>
      </a:accent3>
      <a:accent4>
        <a:srgbClr val="E8D969"/>
      </a:accent4>
      <a:accent5>
        <a:srgbClr val="002E5B"/>
      </a:accent5>
      <a:accent6>
        <a:srgbClr val="002FA7"/>
      </a:accent6>
      <a:hlink>
        <a:srgbClr val="CC9900"/>
      </a:hlink>
      <a:folHlink>
        <a:srgbClr val="666699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sulting Report_VN</Template>
  <TotalTime>7373</TotalTime>
  <Words>4019</Words>
  <Application>Microsoft Office PowerPoint</Application>
  <PresentationFormat>Custom</PresentationFormat>
  <Paragraphs>1747</Paragraphs>
  <Slides>3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Batang</vt:lpstr>
      <vt:lpstr>Arial</vt:lpstr>
      <vt:lpstr>Calibri</vt:lpstr>
      <vt:lpstr>Georgia</vt:lpstr>
      <vt:lpstr>Times New Roman</vt:lpstr>
      <vt:lpstr>Wingdings</vt:lpstr>
      <vt:lpstr>Consulting Report_VN</vt:lpstr>
      <vt:lpstr>Web based</vt:lpstr>
      <vt:lpstr>Sitema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er Interface – People Details</vt:lpstr>
      <vt:lpstr>PowerPoint Presentation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iamond</dc:title>
  <dc:creator>Windows User</dc:creator>
  <dc:description>Consulting Report_VN</dc:description>
  <cp:lastModifiedBy>Ngoc Hoang</cp:lastModifiedBy>
  <cp:revision>1185</cp:revision>
  <dcterms:created xsi:type="dcterms:W3CDTF">2012-11-22T01:59:02Z</dcterms:created>
  <dcterms:modified xsi:type="dcterms:W3CDTF">2017-09-18T14:0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Report Template Version">
    <vt:lpwstr>20110204v2</vt:lpwstr>
  </property>
</Properties>
</file>